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Override4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9" r:id="rId3"/>
    <p:sldId id="258" r:id="rId4"/>
    <p:sldId id="270" r:id="rId5"/>
    <p:sldId id="271" r:id="rId6"/>
    <p:sldId id="275" r:id="rId7"/>
    <p:sldId id="272" r:id="rId8"/>
    <p:sldId id="276" r:id="rId9"/>
    <p:sldId id="274" r:id="rId10"/>
    <p:sldId id="277" r:id="rId11"/>
    <p:sldId id="278" r:id="rId12"/>
    <p:sldId id="279" r:id="rId13"/>
    <p:sldId id="280" r:id="rId14"/>
    <p:sldId id="273" r:id="rId15"/>
    <p:sldId id="281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82C4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1" autoAdjust="0"/>
    <p:restoredTop sz="96182" autoAdjust="0"/>
  </p:normalViewPr>
  <p:slideViewPr>
    <p:cSldViewPr snapToGrid="0">
      <p:cViewPr varScale="1">
        <p:scale>
          <a:sx n="85" d="100"/>
          <a:sy n="85" d="100"/>
        </p:scale>
        <p:origin x="307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3991901-56F7-4C60-A742-D1E6E5ACBE9A}" type="doc">
      <dgm:prSet loTypeId="urn:microsoft.com/office/officeart/2005/8/layout/hList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3E06E81D-3B49-4153-B8C8-400AFD721982}">
      <dgm:prSet phldrT="[文本]"/>
      <dgm:spPr/>
      <dgm:t>
        <a:bodyPr/>
        <a:lstStyle/>
        <a:p>
          <a:r>
            <a:rPr lang="zh-CN" altLang="en-US" dirty="0"/>
            <a:t>背景</a:t>
          </a:r>
        </a:p>
      </dgm:t>
    </dgm:pt>
    <dgm:pt modelId="{05C5B8F4-02CF-4385-8D50-18174720A9D2}" type="parTrans" cxnId="{3B0726BB-A6EA-451F-A9F2-AE6FAEB964BA}">
      <dgm:prSet/>
      <dgm:spPr/>
      <dgm:t>
        <a:bodyPr/>
        <a:lstStyle/>
        <a:p>
          <a:endParaRPr lang="zh-CN" altLang="en-US"/>
        </a:p>
      </dgm:t>
    </dgm:pt>
    <dgm:pt modelId="{F222A055-AC0D-46B4-BEDD-14524CE52CFA}" type="sibTrans" cxnId="{3B0726BB-A6EA-451F-A9F2-AE6FAEB964BA}">
      <dgm:prSet/>
      <dgm:spPr/>
      <dgm:t>
        <a:bodyPr/>
        <a:lstStyle/>
        <a:p>
          <a:endParaRPr lang="zh-CN" altLang="en-US"/>
        </a:p>
      </dgm:t>
    </dgm:pt>
    <dgm:pt modelId="{66BEB665-B2EE-4D9E-8EF6-F539FF1AC842}">
      <dgm:prSet phldrT="[文本]"/>
      <dgm:spPr/>
      <dgm:t>
        <a:bodyPr/>
        <a:lstStyle/>
        <a:p>
          <a:r>
            <a:rPr lang="zh-CN" altLang="en-US" dirty="0"/>
            <a:t>目标</a:t>
          </a:r>
        </a:p>
      </dgm:t>
    </dgm:pt>
    <dgm:pt modelId="{8EBCAE03-4D72-4BC8-9945-97E966633321}" type="parTrans" cxnId="{A030F9E1-3B9B-42F1-9D52-1F1E67A4C7C7}">
      <dgm:prSet/>
      <dgm:spPr/>
      <dgm:t>
        <a:bodyPr/>
        <a:lstStyle/>
        <a:p>
          <a:endParaRPr lang="zh-CN" altLang="en-US"/>
        </a:p>
      </dgm:t>
    </dgm:pt>
    <dgm:pt modelId="{6C21CCEF-CA2E-4908-80AD-2AE0973723DD}" type="sibTrans" cxnId="{A030F9E1-3B9B-42F1-9D52-1F1E67A4C7C7}">
      <dgm:prSet/>
      <dgm:spPr/>
      <dgm:t>
        <a:bodyPr/>
        <a:lstStyle/>
        <a:p>
          <a:endParaRPr lang="zh-CN" altLang="en-US"/>
        </a:p>
      </dgm:t>
    </dgm:pt>
    <dgm:pt modelId="{FCEF7EBC-D93A-42D0-AC65-1A17414920AE}">
      <dgm:prSet phldrT="[文本]"/>
      <dgm:spPr/>
      <dgm:t>
        <a:bodyPr/>
        <a:lstStyle/>
        <a:p>
          <a:r>
            <a:rPr lang="zh-CN" altLang="en-US" dirty="0"/>
            <a:t>用户</a:t>
          </a:r>
        </a:p>
      </dgm:t>
    </dgm:pt>
    <dgm:pt modelId="{82573B45-DEF3-4048-9D8D-8DDF61AFCBA6}" type="parTrans" cxnId="{6B906C4C-727C-4604-97E5-7F8D38336818}">
      <dgm:prSet/>
      <dgm:spPr/>
      <dgm:t>
        <a:bodyPr/>
        <a:lstStyle/>
        <a:p>
          <a:endParaRPr lang="zh-CN" altLang="en-US"/>
        </a:p>
      </dgm:t>
    </dgm:pt>
    <dgm:pt modelId="{C0220FAF-6C61-41B6-8522-776DF956A1C7}" type="sibTrans" cxnId="{6B906C4C-727C-4604-97E5-7F8D38336818}">
      <dgm:prSet/>
      <dgm:spPr/>
      <dgm:t>
        <a:bodyPr/>
        <a:lstStyle/>
        <a:p>
          <a:endParaRPr lang="zh-CN" altLang="en-US"/>
        </a:p>
      </dgm:t>
    </dgm:pt>
    <dgm:pt modelId="{2777234C-90FB-4F53-9110-E8B6F00C0FCA}">
      <dgm:prSet custT="1"/>
      <dgm:spPr/>
      <dgm:t>
        <a:bodyPr/>
        <a:lstStyle/>
        <a:p>
          <a:r>
            <a:rPr lang="en-US" altLang="zh-CN" sz="2500" dirty="0"/>
            <a:t> </a:t>
          </a:r>
          <a:r>
            <a:rPr lang="zh-CN" altLang="en-US" sz="2000" dirty="0">
              <a:latin typeface="+mj-ea"/>
              <a:ea typeface="+mj-ea"/>
            </a:rPr>
            <a:t>暑假教研实习</a:t>
          </a:r>
        </a:p>
      </dgm:t>
    </dgm:pt>
    <dgm:pt modelId="{4B1C0D2E-131C-4025-BC70-430A936E7BED}" type="parTrans" cxnId="{77D9E29C-0F7A-4249-AD31-7C138DD33C92}">
      <dgm:prSet/>
      <dgm:spPr/>
      <dgm:t>
        <a:bodyPr/>
        <a:lstStyle/>
        <a:p>
          <a:endParaRPr lang="zh-CN" altLang="en-US"/>
        </a:p>
      </dgm:t>
    </dgm:pt>
    <dgm:pt modelId="{E09BE618-9F5E-4B38-90EF-C02B0FD2C7D7}" type="sibTrans" cxnId="{77D9E29C-0F7A-4249-AD31-7C138DD33C92}">
      <dgm:prSet/>
      <dgm:spPr/>
      <dgm:t>
        <a:bodyPr/>
        <a:lstStyle/>
        <a:p>
          <a:endParaRPr lang="zh-CN" altLang="en-US"/>
        </a:p>
      </dgm:t>
    </dgm:pt>
    <dgm:pt modelId="{9DA927D4-E817-4C50-9DF5-DD60C38A6ABE}">
      <dgm:prSet custT="1"/>
      <dgm:spPr/>
      <dgm:t>
        <a:bodyPr/>
        <a:lstStyle/>
        <a:p>
          <a:r>
            <a:rPr lang="zh-CN" altLang="en-US" sz="2000" dirty="0">
              <a:latin typeface="+mj-ea"/>
              <a:ea typeface="+mj-ea"/>
            </a:rPr>
            <a:t>大学生学习需求</a:t>
          </a:r>
        </a:p>
      </dgm:t>
    </dgm:pt>
    <dgm:pt modelId="{7FF04FC5-C358-4EE3-9506-C66C25A38D1D}" type="parTrans" cxnId="{7231E226-4310-424B-8E36-20E48D4D9823}">
      <dgm:prSet/>
      <dgm:spPr/>
      <dgm:t>
        <a:bodyPr/>
        <a:lstStyle/>
        <a:p>
          <a:endParaRPr lang="zh-CN" altLang="en-US"/>
        </a:p>
      </dgm:t>
    </dgm:pt>
    <dgm:pt modelId="{EF3F85B9-5334-49D5-A5F2-65BEC57EFC92}" type="sibTrans" cxnId="{7231E226-4310-424B-8E36-20E48D4D9823}">
      <dgm:prSet/>
      <dgm:spPr/>
      <dgm:t>
        <a:bodyPr/>
        <a:lstStyle/>
        <a:p>
          <a:endParaRPr lang="zh-CN" altLang="en-US"/>
        </a:p>
      </dgm:t>
    </dgm:pt>
    <dgm:pt modelId="{83FAF453-1C4A-4B79-A5DD-45AFDC8CA9F9}">
      <dgm:prSet custT="1"/>
      <dgm:spPr/>
      <dgm:t>
        <a:bodyPr/>
        <a:lstStyle/>
        <a:p>
          <a:r>
            <a:rPr lang="en-US" altLang="zh-CN" sz="2500" dirty="0"/>
            <a:t> </a:t>
          </a:r>
          <a:r>
            <a:rPr lang="zh-CN" altLang="en-US" sz="2000" dirty="0">
              <a:latin typeface="+mj-ea"/>
              <a:ea typeface="+mj-ea"/>
            </a:rPr>
            <a:t>快速生成 </a:t>
          </a:r>
          <a:r>
            <a:rPr lang="en-US" altLang="zh-CN" sz="2000" dirty="0">
              <a:latin typeface="+mj-ea"/>
              <a:ea typeface="+mj-ea"/>
            </a:rPr>
            <a:t>PDF </a:t>
          </a:r>
          <a:r>
            <a:rPr lang="zh-CN" altLang="en-US" sz="2000" dirty="0">
              <a:latin typeface="+mj-ea"/>
              <a:ea typeface="+mj-ea"/>
            </a:rPr>
            <a:t>考点总结</a:t>
          </a:r>
        </a:p>
      </dgm:t>
    </dgm:pt>
    <dgm:pt modelId="{C056A380-7439-4A18-9F5C-4EB3DB14165C}" type="parTrans" cxnId="{357F5D78-E313-45A4-8754-679586DAEECE}">
      <dgm:prSet/>
      <dgm:spPr/>
      <dgm:t>
        <a:bodyPr/>
        <a:lstStyle/>
        <a:p>
          <a:endParaRPr lang="zh-CN" altLang="en-US"/>
        </a:p>
      </dgm:t>
    </dgm:pt>
    <dgm:pt modelId="{42251880-10AC-4864-81D2-C7D0F63A29F8}" type="sibTrans" cxnId="{357F5D78-E313-45A4-8754-679586DAEECE}">
      <dgm:prSet/>
      <dgm:spPr/>
      <dgm:t>
        <a:bodyPr/>
        <a:lstStyle/>
        <a:p>
          <a:endParaRPr lang="zh-CN" altLang="en-US"/>
        </a:p>
      </dgm:t>
    </dgm:pt>
    <dgm:pt modelId="{716AE2C7-E587-428F-A45D-4E646A4F48FD}">
      <dgm:prSet custT="1"/>
      <dgm:spPr/>
      <dgm:t>
        <a:bodyPr/>
        <a:lstStyle/>
        <a:p>
          <a:r>
            <a:rPr lang="zh-CN" altLang="en-US" sz="2000" dirty="0">
              <a:latin typeface="+mj-ea"/>
              <a:ea typeface="+mj-ea"/>
            </a:rPr>
            <a:t>操作 ≤ </a:t>
          </a:r>
          <a:r>
            <a:rPr lang="en-US" altLang="zh-CN" sz="2000" dirty="0">
              <a:latin typeface="+mj-ea"/>
              <a:ea typeface="+mj-ea"/>
            </a:rPr>
            <a:t>3 </a:t>
          </a:r>
          <a:r>
            <a:rPr lang="zh-CN" altLang="en-US" sz="2000" dirty="0">
              <a:latin typeface="+mj-ea"/>
              <a:ea typeface="+mj-ea"/>
            </a:rPr>
            <a:t>步</a:t>
          </a:r>
        </a:p>
      </dgm:t>
    </dgm:pt>
    <dgm:pt modelId="{D1231821-FF12-4036-9178-9C0FCDD5162D}" type="parTrans" cxnId="{08C21334-88FA-4D77-81A5-0B3F0B41689B}">
      <dgm:prSet/>
      <dgm:spPr/>
      <dgm:t>
        <a:bodyPr/>
        <a:lstStyle/>
        <a:p>
          <a:endParaRPr lang="zh-CN" altLang="en-US"/>
        </a:p>
      </dgm:t>
    </dgm:pt>
    <dgm:pt modelId="{88465EC2-A5FC-4F5B-94B9-27F9C336EFCE}" type="sibTrans" cxnId="{08C21334-88FA-4D77-81A5-0B3F0B41689B}">
      <dgm:prSet/>
      <dgm:spPr/>
      <dgm:t>
        <a:bodyPr/>
        <a:lstStyle/>
        <a:p>
          <a:endParaRPr lang="zh-CN" altLang="en-US"/>
        </a:p>
      </dgm:t>
    </dgm:pt>
    <dgm:pt modelId="{E76348BB-C8BF-4F08-925B-9329EDBEB83B}">
      <dgm:prSet custT="1"/>
      <dgm:spPr/>
      <dgm:t>
        <a:bodyPr/>
        <a:lstStyle/>
        <a:p>
          <a:r>
            <a:rPr lang="en-US" altLang="zh-CN" sz="2000" dirty="0">
              <a:latin typeface="+mj-ea"/>
              <a:ea typeface="+mj-ea"/>
            </a:rPr>
            <a:t> </a:t>
          </a:r>
          <a:r>
            <a:rPr lang="zh-CN" altLang="en-US" sz="2000" dirty="0">
              <a:latin typeface="+mj-ea"/>
              <a:ea typeface="+mj-ea"/>
            </a:rPr>
            <a:t>学生</a:t>
          </a:r>
        </a:p>
      </dgm:t>
    </dgm:pt>
    <dgm:pt modelId="{A3CAF956-C5C4-4628-B187-62F74E2BF99F}" type="parTrans" cxnId="{09C82A89-E1FD-4B40-B4E1-031A30B9E2A4}">
      <dgm:prSet/>
      <dgm:spPr/>
      <dgm:t>
        <a:bodyPr/>
        <a:lstStyle/>
        <a:p>
          <a:endParaRPr lang="zh-CN" altLang="en-US"/>
        </a:p>
      </dgm:t>
    </dgm:pt>
    <dgm:pt modelId="{A07E06C7-F9E9-4FDF-AF28-7669287B7C6C}" type="sibTrans" cxnId="{09C82A89-E1FD-4B40-B4E1-031A30B9E2A4}">
      <dgm:prSet/>
      <dgm:spPr/>
      <dgm:t>
        <a:bodyPr/>
        <a:lstStyle/>
        <a:p>
          <a:endParaRPr lang="zh-CN" altLang="en-US"/>
        </a:p>
      </dgm:t>
    </dgm:pt>
    <dgm:pt modelId="{D6A200C1-F977-4B47-8BEE-2F6A74A2BDC7}">
      <dgm:prSet custT="1"/>
      <dgm:spPr/>
      <dgm:t>
        <a:bodyPr/>
        <a:lstStyle/>
        <a:p>
          <a:r>
            <a:rPr lang="zh-CN" altLang="en-US" sz="2000" dirty="0">
              <a:latin typeface="+mj-ea"/>
              <a:ea typeface="+mj-ea"/>
            </a:rPr>
            <a:t>考研生</a:t>
          </a:r>
        </a:p>
      </dgm:t>
    </dgm:pt>
    <dgm:pt modelId="{491DDE8B-2201-491F-A262-B4CC9D1CD500}" type="parTrans" cxnId="{6A0406F5-A4F8-485E-A3E5-6EB7D7C09544}">
      <dgm:prSet/>
      <dgm:spPr/>
      <dgm:t>
        <a:bodyPr/>
        <a:lstStyle/>
        <a:p>
          <a:endParaRPr lang="zh-CN" altLang="en-US"/>
        </a:p>
      </dgm:t>
    </dgm:pt>
    <dgm:pt modelId="{A0675FC6-2A7B-46AB-9100-AB0C1059FA2D}" type="sibTrans" cxnId="{6A0406F5-A4F8-485E-A3E5-6EB7D7C09544}">
      <dgm:prSet/>
      <dgm:spPr/>
      <dgm:t>
        <a:bodyPr/>
        <a:lstStyle/>
        <a:p>
          <a:endParaRPr lang="zh-CN" altLang="en-US"/>
        </a:p>
      </dgm:t>
    </dgm:pt>
    <dgm:pt modelId="{A1573C99-8DAF-4E6B-9727-34CB12B6641F}">
      <dgm:prSet custT="1"/>
      <dgm:spPr/>
      <dgm:t>
        <a:bodyPr/>
        <a:lstStyle/>
        <a:p>
          <a:r>
            <a:rPr lang="zh-CN" altLang="en-US" sz="2000" dirty="0">
              <a:latin typeface="+mj-ea"/>
              <a:ea typeface="+mj-ea"/>
            </a:rPr>
            <a:t>教师</a:t>
          </a:r>
          <a:r>
            <a:rPr lang="en-US" altLang="zh-CN" sz="2000" dirty="0">
              <a:latin typeface="+mj-ea"/>
              <a:ea typeface="+mj-ea"/>
            </a:rPr>
            <a:t>/</a:t>
          </a:r>
          <a:r>
            <a:rPr lang="zh-CN" altLang="en-US" sz="2000" dirty="0">
              <a:latin typeface="+mj-ea"/>
              <a:ea typeface="+mj-ea"/>
            </a:rPr>
            <a:t>助教</a:t>
          </a:r>
        </a:p>
      </dgm:t>
    </dgm:pt>
    <dgm:pt modelId="{40F63F3B-531C-4612-99D2-91F88B9F42E8}" type="parTrans" cxnId="{DF517D3D-5097-49AF-BAD5-93483E570148}">
      <dgm:prSet/>
      <dgm:spPr/>
      <dgm:t>
        <a:bodyPr/>
        <a:lstStyle/>
        <a:p>
          <a:endParaRPr lang="zh-CN" altLang="en-US"/>
        </a:p>
      </dgm:t>
    </dgm:pt>
    <dgm:pt modelId="{97EF3754-DC66-4D52-A2CE-6B7180B669AF}" type="sibTrans" cxnId="{DF517D3D-5097-49AF-BAD5-93483E570148}">
      <dgm:prSet/>
      <dgm:spPr/>
      <dgm:t>
        <a:bodyPr/>
        <a:lstStyle/>
        <a:p>
          <a:endParaRPr lang="zh-CN" altLang="en-US"/>
        </a:p>
      </dgm:t>
    </dgm:pt>
    <dgm:pt modelId="{BFEAFDC4-7728-46C9-AAD6-15157BFA1230}" type="pres">
      <dgm:prSet presAssocID="{03991901-56F7-4C60-A742-D1E6E5ACBE9A}" presName="Name0" presStyleCnt="0">
        <dgm:presLayoutVars>
          <dgm:dir/>
          <dgm:animLvl val="lvl"/>
          <dgm:resizeHandles val="exact"/>
        </dgm:presLayoutVars>
      </dgm:prSet>
      <dgm:spPr/>
    </dgm:pt>
    <dgm:pt modelId="{5C647CA0-AEC4-4FA8-93EE-C9B04B284F97}" type="pres">
      <dgm:prSet presAssocID="{3E06E81D-3B49-4153-B8C8-400AFD721982}" presName="composite" presStyleCnt="0"/>
      <dgm:spPr/>
    </dgm:pt>
    <dgm:pt modelId="{17ADC810-9F3A-4AE8-91B4-53F1B131F263}" type="pres">
      <dgm:prSet presAssocID="{3E06E81D-3B49-4153-B8C8-400AFD721982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A3C987DE-1995-4334-B6E0-B9BC878D15D5}" type="pres">
      <dgm:prSet presAssocID="{3E06E81D-3B49-4153-B8C8-400AFD721982}" presName="desTx" presStyleLbl="alignAccFollowNode1" presStyleIdx="0" presStyleCnt="3">
        <dgm:presLayoutVars>
          <dgm:bulletEnabled val="1"/>
        </dgm:presLayoutVars>
      </dgm:prSet>
      <dgm:spPr/>
    </dgm:pt>
    <dgm:pt modelId="{1B96A6B5-74BC-4D43-9E6C-A780D8DDD7C9}" type="pres">
      <dgm:prSet presAssocID="{F222A055-AC0D-46B4-BEDD-14524CE52CFA}" presName="space" presStyleCnt="0"/>
      <dgm:spPr/>
    </dgm:pt>
    <dgm:pt modelId="{BB76D65D-079C-422B-99E3-6A45D7FF8EF3}" type="pres">
      <dgm:prSet presAssocID="{66BEB665-B2EE-4D9E-8EF6-F539FF1AC842}" presName="composite" presStyleCnt="0"/>
      <dgm:spPr/>
    </dgm:pt>
    <dgm:pt modelId="{974DB2B7-A454-47AF-86F7-457EAB0A3AF4}" type="pres">
      <dgm:prSet presAssocID="{66BEB665-B2EE-4D9E-8EF6-F539FF1AC842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69077460-1567-4614-B8E9-3CACEE10DBE7}" type="pres">
      <dgm:prSet presAssocID="{66BEB665-B2EE-4D9E-8EF6-F539FF1AC842}" presName="desTx" presStyleLbl="alignAccFollowNode1" presStyleIdx="1" presStyleCnt="3">
        <dgm:presLayoutVars>
          <dgm:bulletEnabled val="1"/>
        </dgm:presLayoutVars>
      </dgm:prSet>
      <dgm:spPr/>
    </dgm:pt>
    <dgm:pt modelId="{7D088DF4-9CE1-41A1-9D6E-1A9D28F086D2}" type="pres">
      <dgm:prSet presAssocID="{6C21CCEF-CA2E-4908-80AD-2AE0973723DD}" presName="space" presStyleCnt="0"/>
      <dgm:spPr/>
    </dgm:pt>
    <dgm:pt modelId="{A58BAE36-D4B9-4278-AA88-3D4FBFEB7706}" type="pres">
      <dgm:prSet presAssocID="{FCEF7EBC-D93A-42D0-AC65-1A17414920AE}" presName="composite" presStyleCnt="0"/>
      <dgm:spPr/>
    </dgm:pt>
    <dgm:pt modelId="{93299FBF-D5E5-47BB-90B5-7F1A924A82A9}" type="pres">
      <dgm:prSet presAssocID="{FCEF7EBC-D93A-42D0-AC65-1A17414920AE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4DAA1817-FA25-4D38-A211-221EB6AE50AB}" type="pres">
      <dgm:prSet presAssocID="{FCEF7EBC-D93A-42D0-AC65-1A17414920AE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F5053608-0932-4C20-B73A-7A42D11DBD4B}" type="presOf" srcId="{3E06E81D-3B49-4153-B8C8-400AFD721982}" destId="{17ADC810-9F3A-4AE8-91B4-53F1B131F263}" srcOrd="0" destOrd="0" presId="urn:microsoft.com/office/officeart/2005/8/layout/hList1"/>
    <dgm:cxn modelId="{166C7820-1179-43EB-A266-A0166AE095CA}" type="presOf" srcId="{03991901-56F7-4C60-A742-D1E6E5ACBE9A}" destId="{BFEAFDC4-7728-46C9-AAD6-15157BFA1230}" srcOrd="0" destOrd="0" presId="urn:microsoft.com/office/officeart/2005/8/layout/hList1"/>
    <dgm:cxn modelId="{7231E226-4310-424B-8E36-20E48D4D9823}" srcId="{3E06E81D-3B49-4153-B8C8-400AFD721982}" destId="{9DA927D4-E817-4C50-9DF5-DD60C38A6ABE}" srcOrd="1" destOrd="0" parTransId="{7FF04FC5-C358-4EE3-9506-C66C25A38D1D}" sibTransId="{EF3F85B9-5334-49D5-A5F2-65BEC57EFC92}"/>
    <dgm:cxn modelId="{08C21334-88FA-4D77-81A5-0B3F0B41689B}" srcId="{66BEB665-B2EE-4D9E-8EF6-F539FF1AC842}" destId="{716AE2C7-E587-428F-A45D-4E646A4F48FD}" srcOrd="1" destOrd="0" parTransId="{D1231821-FF12-4036-9178-9C0FCDD5162D}" sibTransId="{88465EC2-A5FC-4F5B-94B9-27F9C336EFCE}"/>
    <dgm:cxn modelId="{DF517D3D-5097-49AF-BAD5-93483E570148}" srcId="{FCEF7EBC-D93A-42D0-AC65-1A17414920AE}" destId="{A1573C99-8DAF-4E6B-9727-34CB12B6641F}" srcOrd="2" destOrd="0" parTransId="{40F63F3B-531C-4612-99D2-91F88B9F42E8}" sibTransId="{97EF3754-DC66-4D52-A2CE-6B7180B669AF}"/>
    <dgm:cxn modelId="{4DC59640-E34B-4EC4-9800-568A6BCF03E8}" type="presOf" srcId="{D6A200C1-F977-4B47-8BEE-2F6A74A2BDC7}" destId="{4DAA1817-FA25-4D38-A211-221EB6AE50AB}" srcOrd="0" destOrd="1" presId="urn:microsoft.com/office/officeart/2005/8/layout/hList1"/>
    <dgm:cxn modelId="{8FC30C5C-6A6C-4B6B-A035-E4F1DFA91A3E}" type="presOf" srcId="{FCEF7EBC-D93A-42D0-AC65-1A17414920AE}" destId="{93299FBF-D5E5-47BB-90B5-7F1A924A82A9}" srcOrd="0" destOrd="0" presId="urn:microsoft.com/office/officeart/2005/8/layout/hList1"/>
    <dgm:cxn modelId="{5F36315E-60C1-4415-B0B6-6C12F8FA7754}" type="presOf" srcId="{A1573C99-8DAF-4E6B-9727-34CB12B6641F}" destId="{4DAA1817-FA25-4D38-A211-221EB6AE50AB}" srcOrd="0" destOrd="2" presId="urn:microsoft.com/office/officeart/2005/8/layout/hList1"/>
    <dgm:cxn modelId="{6B906C4C-727C-4604-97E5-7F8D38336818}" srcId="{03991901-56F7-4C60-A742-D1E6E5ACBE9A}" destId="{FCEF7EBC-D93A-42D0-AC65-1A17414920AE}" srcOrd="2" destOrd="0" parTransId="{82573B45-DEF3-4048-9D8D-8DDF61AFCBA6}" sibTransId="{C0220FAF-6C61-41B6-8522-776DF956A1C7}"/>
    <dgm:cxn modelId="{DCAF8575-EBEB-427A-8824-843C0BA098C9}" type="presOf" srcId="{716AE2C7-E587-428F-A45D-4E646A4F48FD}" destId="{69077460-1567-4614-B8E9-3CACEE10DBE7}" srcOrd="0" destOrd="1" presId="urn:microsoft.com/office/officeart/2005/8/layout/hList1"/>
    <dgm:cxn modelId="{357F5D78-E313-45A4-8754-679586DAEECE}" srcId="{66BEB665-B2EE-4D9E-8EF6-F539FF1AC842}" destId="{83FAF453-1C4A-4B79-A5DD-45AFDC8CA9F9}" srcOrd="0" destOrd="0" parTransId="{C056A380-7439-4A18-9F5C-4EB3DB14165C}" sibTransId="{42251880-10AC-4864-81D2-C7D0F63A29F8}"/>
    <dgm:cxn modelId="{09C82A89-E1FD-4B40-B4E1-031A30B9E2A4}" srcId="{FCEF7EBC-D93A-42D0-AC65-1A17414920AE}" destId="{E76348BB-C8BF-4F08-925B-9329EDBEB83B}" srcOrd="0" destOrd="0" parTransId="{A3CAF956-C5C4-4628-B187-62F74E2BF99F}" sibTransId="{A07E06C7-F9E9-4FDF-AF28-7669287B7C6C}"/>
    <dgm:cxn modelId="{F9F4B491-65D9-4211-9145-45E72D4FF5AC}" type="presOf" srcId="{83FAF453-1C4A-4B79-A5DD-45AFDC8CA9F9}" destId="{69077460-1567-4614-B8E9-3CACEE10DBE7}" srcOrd="0" destOrd="0" presId="urn:microsoft.com/office/officeart/2005/8/layout/hList1"/>
    <dgm:cxn modelId="{77D9E29C-0F7A-4249-AD31-7C138DD33C92}" srcId="{3E06E81D-3B49-4153-B8C8-400AFD721982}" destId="{2777234C-90FB-4F53-9110-E8B6F00C0FCA}" srcOrd="0" destOrd="0" parTransId="{4B1C0D2E-131C-4025-BC70-430A936E7BED}" sibTransId="{E09BE618-9F5E-4B38-90EF-C02B0FD2C7D7}"/>
    <dgm:cxn modelId="{3B0726BB-A6EA-451F-A9F2-AE6FAEB964BA}" srcId="{03991901-56F7-4C60-A742-D1E6E5ACBE9A}" destId="{3E06E81D-3B49-4153-B8C8-400AFD721982}" srcOrd="0" destOrd="0" parTransId="{05C5B8F4-02CF-4385-8D50-18174720A9D2}" sibTransId="{F222A055-AC0D-46B4-BEDD-14524CE52CFA}"/>
    <dgm:cxn modelId="{22F9FCCD-EA79-4516-A95A-AACA025DAA62}" type="presOf" srcId="{9DA927D4-E817-4C50-9DF5-DD60C38A6ABE}" destId="{A3C987DE-1995-4334-B6E0-B9BC878D15D5}" srcOrd="0" destOrd="1" presId="urn:microsoft.com/office/officeart/2005/8/layout/hList1"/>
    <dgm:cxn modelId="{AB2AF9D9-2283-4E49-812F-68485354C5DC}" type="presOf" srcId="{66BEB665-B2EE-4D9E-8EF6-F539FF1AC842}" destId="{974DB2B7-A454-47AF-86F7-457EAB0A3AF4}" srcOrd="0" destOrd="0" presId="urn:microsoft.com/office/officeart/2005/8/layout/hList1"/>
    <dgm:cxn modelId="{504E81DC-42FD-4F81-A30C-8560EA92D300}" type="presOf" srcId="{2777234C-90FB-4F53-9110-E8B6F00C0FCA}" destId="{A3C987DE-1995-4334-B6E0-B9BC878D15D5}" srcOrd="0" destOrd="0" presId="urn:microsoft.com/office/officeart/2005/8/layout/hList1"/>
    <dgm:cxn modelId="{A030F9E1-3B9B-42F1-9D52-1F1E67A4C7C7}" srcId="{03991901-56F7-4C60-A742-D1E6E5ACBE9A}" destId="{66BEB665-B2EE-4D9E-8EF6-F539FF1AC842}" srcOrd="1" destOrd="0" parTransId="{8EBCAE03-4D72-4BC8-9945-97E966633321}" sibTransId="{6C21CCEF-CA2E-4908-80AD-2AE0973723DD}"/>
    <dgm:cxn modelId="{882B0BE3-34FC-44C4-A993-37AE03C1FEAC}" type="presOf" srcId="{E76348BB-C8BF-4F08-925B-9329EDBEB83B}" destId="{4DAA1817-FA25-4D38-A211-221EB6AE50AB}" srcOrd="0" destOrd="0" presId="urn:microsoft.com/office/officeart/2005/8/layout/hList1"/>
    <dgm:cxn modelId="{6A0406F5-A4F8-485E-A3E5-6EB7D7C09544}" srcId="{FCEF7EBC-D93A-42D0-AC65-1A17414920AE}" destId="{D6A200C1-F977-4B47-8BEE-2F6A74A2BDC7}" srcOrd="1" destOrd="0" parTransId="{491DDE8B-2201-491F-A262-B4CC9D1CD500}" sibTransId="{A0675FC6-2A7B-46AB-9100-AB0C1059FA2D}"/>
    <dgm:cxn modelId="{DEB226F4-A12C-40B1-98EE-1B19E2909D72}" type="presParOf" srcId="{BFEAFDC4-7728-46C9-AAD6-15157BFA1230}" destId="{5C647CA0-AEC4-4FA8-93EE-C9B04B284F97}" srcOrd="0" destOrd="0" presId="urn:microsoft.com/office/officeart/2005/8/layout/hList1"/>
    <dgm:cxn modelId="{5EF68CE4-2D1A-4179-AF79-D356B81428E8}" type="presParOf" srcId="{5C647CA0-AEC4-4FA8-93EE-C9B04B284F97}" destId="{17ADC810-9F3A-4AE8-91B4-53F1B131F263}" srcOrd="0" destOrd="0" presId="urn:microsoft.com/office/officeart/2005/8/layout/hList1"/>
    <dgm:cxn modelId="{43BBFAC3-E509-4F29-BDE4-282E17C2B8D1}" type="presParOf" srcId="{5C647CA0-AEC4-4FA8-93EE-C9B04B284F97}" destId="{A3C987DE-1995-4334-B6E0-B9BC878D15D5}" srcOrd="1" destOrd="0" presId="urn:microsoft.com/office/officeart/2005/8/layout/hList1"/>
    <dgm:cxn modelId="{C983B78D-B150-4A27-A02D-2D237120B749}" type="presParOf" srcId="{BFEAFDC4-7728-46C9-AAD6-15157BFA1230}" destId="{1B96A6B5-74BC-4D43-9E6C-A780D8DDD7C9}" srcOrd="1" destOrd="0" presId="urn:microsoft.com/office/officeart/2005/8/layout/hList1"/>
    <dgm:cxn modelId="{4A36636C-0BCC-4CDE-8371-68249CCB1979}" type="presParOf" srcId="{BFEAFDC4-7728-46C9-AAD6-15157BFA1230}" destId="{BB76D65D-079C-422B-99E3-6A45D7FF8EF3}" srcOrd="2" destOrd="0" presId="urn:microsoft.com/office/officeart/2005/8/layout/hList1"/>
    <dgm:cxn modelId="{2FDFF39D-43B3-4EAB-B464-6F805F73749B}" type="presParOf" srcId="{BB76D65D-079C-422B-99E3-6A45D7FF8EF3}" destId="{974DB2B7-A454-47AF-86F7-457EAB0A3AF4}" srcOrd="0" destOrd="0" presId="urn:microsoft.com/office/officeart/2005/8/layout/hList1"/>
    <dgm:cxn modelId="{12603EB9-E464-4FC1-A27F-08B4495AC180}" type="presParOf" srcId="{BB76D65D-079C-422B-99E3-6A45D7FF8EF3}" destId="{69077460-1567-4614-B8E9-3CACEE10DBE7}" srcOrd="1" destOrd="0" presId="urn:microsoft.com/office/officeart/2005/8/layout/hList1"/>
    <dgm:cxn modelId="{36D7998A-6D3E-4DA1-9703-455240E6EB05}" type="presParOf" srcId="{BFEAFDC4-7728-46C9-AAD6-15157BFA1230}" destId="{7D088DF4-9CE1-41A1-9D6E-1A9D28F086D2}" srcOrd="3" destOrd="0" presId="urn:microsoft.com/office/officeart/2005/8/layout/hList1"/>
    <dgm:cxn modelId="{5C85B9AA-8D74-4012-B45A-5E6AD8264D58}" type="presParOf" srcId="{BFEAFDC4-7728-46C9-AAD6-15157BFA1230}" destId="{A58BAE36-D4B9-4278-AA88-3D4FBFEB7706}" srcOrd="4" destOrd="0" presId="urn:microsoft.com/office/officeart/2005/8/layout/hList1"/>
    <dgm:cxn modelId="{38497215-9F80-462D-9391-AF12FE6FE95C}" type="presParOf" srcId="{A58BAE36-D4B9-4278-AA88-3D4FBFEB7706}" destId="{93299FBF-D5E5-47BB-90B5-7F1A924A82A9}" srcOrd="0" destOrd="0" presId="urn:microsoft.com/office/officeart/2005/8/layout/hList1"/>
    <dgm:cxn modelId="{C41AD84B-5489-4EB1-93F6-8A30108ADD05}" type="presParOf" srcId="{A58BAE36-D4B9-4278-AA88-3D4FBFEB7706}" destId="{4DAA1817-FA25-4D38-A211-221EB6AE50A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14A060-6EA8-4689-91D4-EAFAE4490025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51671085-02F3-405A-8575-7E66EBB14A6F}">
      <dgm:prSet phldrT="[文本]"/>
      <dgm:spPr/>
      <dgm:t>
        <a:bodyPr/>
        <a:lstStyle/>
        <a:p>
          <a:r>
            <a:rPr lang="zh-CN" altLang="en-US" dirty="0"/>
            <a:t>文件上传</a:t>
          </a:r>
        </a:p>
      </dgm:t>
    </dgm:pt>
    <dgm:pt modelId="{0F527D44-5C06-47D8-AA29-3031FEFC1FB5}" type="parTrans" cxnId="{7057AA1D-6785-426B-BD67-6109D38F0B5B}">
      <dgm:prSet/>
      <dgm:spPr/>
      <dgm:t>
        <a:bodyPr/>
        <a:lstStyle/>
        <a:p>
          <a:endParaRPr lang="zh-CN" altLang="en-US"/>
        </a:p>
      </dgm:t>
    </dgm:pt>
    <dgm:pt modelId="{3555D3F5-C177-4D9C-AA58-EE9B6C657E14}" type="sibTrans" cxnId="{7057AA1D-6785-426B-BD67-6109D38F0B5B}">
      <dgm:prSet/>
      <dgm:spPr/>
      <dgm:t>
        <a:bodyPr/>
        <a:lstStyle/>
        <a:p>
          <a:endParaRPr lang="zh-CN" altLang="en-US"/>
        </a:p>
      </dgm:t>
    </dgm:pt>
    <dgm:pt modelId="{B67DEC43-AC19-42FA-A3C8-AD295916D130}">
      <dgm:prSet phldrT="[文本]"/>
      <dgm:spPr/>
      <dgm:t>
        <a:bodyPr/>
        <a:lstStyle/>
        <a:p>
          <a:r>
            <a:rPr lang="zh-CN" altLang="en-US" dirty="0"/>
            <a:t>文档解析</a:t>
          </a:r>
        </a:p>
      </dgm:t>
    </dgm:pt>
    <dgm:pt modelId="{6D04D532-C368-4EB0-AEB3-C3635DDB5EBF}" type="parTrans" cxnId="{1EDF34F0-4772-4A31-89C3-F817C22E66DD}">
      <dgm:prSet/>
      <dgm:spPr/>
      <dgm:t>
        <a:bodyPr/>
        <a:lstStyle/>
        <a:p>
          <a:endParaRPr lang="zh-CN" altLang="en-US"/>
        </a:p>
      </dgm:t>
    </dgm:pt>
    <dgm:pt modelId="{FC9E7DC8-00C6-40D2-AB6E-82908E1D1BE8}" type="sibTrans" cxnId="{1EDF34F0-4772-4A31-89C3-F817C22E66DD}">
      <dgm:prSet/>
      <dgm:spPr/>
      <dgm:t>
        <a:bodyPr/>
        <a:lstStyle/>
        <a:p>
          <a:endParaRPr lang="zh-CN" altLang="en-US"/>
        </a:p>
      </dgm:t>
    </dgm:pt>
    <dgm:pt modelId="{AEFD70F1-4E44-48CF-8BA2-CD2B0A1D4540}">
      <dgm:prSet phldrT="[文本]"/>
      <dgm:spPr/>
      <dgm:t>
        <a:bodyPr/>
        <a:lstStyle/>
        <a:p>
          <a:r>
            <a:rPr lang="zh-CN" altLang="en-US" dirty="0"/>
            <a:t>模型生成</a:t>
          </a:r>
        </a:p>
      </dgm:t>
    </dgm:pt>
    <dgm:pt modelId="{7EBFC9F4-E440-4CFC-921B-68F17DF63152}" type="parTrans" cxnId="{A96C904E-1B76-4AEB-B3FE-5B66EE9397A6}">
      <dgm:prSet/>
      <dgm:spPr/>
      <dgm:t>
        <a:bodyPr/>
        <a:lstStyle/>
        <a:p>
          <a:endParaRPr lang="zh-CN" altLang="en-US"/>
        </a:p>
      </dgm:t>
    </dgm:pt>
    <dgm:pt modelId="{41E84E90-CE82-4EA8-8B7D-E246209CA00E}" type="sibTrans" cxnId="{A96C904E-1B76-4AEB-B3FE-5B66EE9397A6}">
      <dgm:prSet/>
      <dgm:spPr/>
      <dgm:t>
        <a:bodyPr/>
        <a:lstStyle/>
        <a:p>
          <a:endParaRPr lang="zh-CN" altLang="en-US"/>
        </a:p>
      </dgm:t>
    </dgm:pt>
    <dgm:pt modelId="{43583AF7-E2CB-421B-8769-773088C64C99}">
      <dgm:prSet/>
      <dgm:spPr/>
      <dgm:t>
        <a:bodyPr/>
        <a:lstStyle/>
        <a:p>
          <a:r>
            <a:rPr lang="zh-CN" altLang="en-US" dirty="0"/>
            <a:t>结果展示</a:t>
          </a:r>
        </a:p>
      </dgm:t>
    </dgm:pt>
    <dgm:pt modelId="{B3C28644-26AB-4503-990A-02978A2A6480}" type="parTrans" cxnId="{223B6A55-9BBC-4434-A8C4-14DF84031712}">
      <dgm:prSet/>
      <dgm:spPr/>
      <dgm:t>
        <a:bodyPr/>
        <a:lstStyle/>
        <a:p>
          <a:endParaRPr lang="zh-CN" altLang="en-US"/>
        </a:p>
      </dgm:t>
    </dgm:pt>
    <dgm:pt modelId="{189EA1D6-37B0-4C52-B4BB-841B252CB900}" type="sibTrans" cxnId="{223B6A55-9BBC-4434-A8C4-14DF84031712}">
      <dgm:prSet/>
      <dgm:spPr/>
      <dgm:t>
        <a:bodyPr/>
        <a:lstStyle/>
        <a:p>
          <a:endParaRPr lang="zh-CN" altLang="en-US"/>
        </a:p>
      </dgm:t>
    </dgm:pt>
    <dgm:pt modelId="{4DA56011-4562-4934-950B-629CBE6791E2}" type="pres">
      <dgm:prSet presAssocID="{AF14A060-6EA8-4689-91D4-EAFAE4490025}" presName="Name0" presStyleCnt="0">
        <dgm:presLayoutVars>
          <dgm:dir/>
          <dgm:resizeHandles val="exact"/>
        </dgm:presLayoutVars>
      </dgm:prSet>
      <dgm:spPr/>
    </dgm:pt>
    <dgm:pt modelId="{8732B702-4E3E-4E05-BD4C-9EB4D2F7C68C}" type="pres">
      <dgm:prSet presAssocID="{51671085-02F3-405A-8575-7E66EBB14A6F}" presName="node" presStyleLbl="node1" presStyleIdx="0" presStyleCnt="4">
        <dgm:presLayoutVars>
          <dgm:bulletEnabled val="1"/>
        </dgm:presLayoutVars>
      </dgm:prSet>
      <dgm:spPr/>
    </dgm:pt>
    <dgm:pt modelId="{30C46F76-4BFD-482C-92B7-2DE482133FB7}" type="pres">
      <dgm:prSet presAssocID="{3555D3F5-C177-4D9C-AA58-EE9B6C657E14}" presName="sibTrans" presStyleLbl="sibTrans2D1" presStyleIdx="0" presStyleCnt="3"/>
      <dgm:spPr/>
    </dgm:pt>
    <dgm:pt modelId="{023F1310-2676-4B05-BDED-98A95A81A502}" type="pres">
      <dgm:prSet presAssocID="{3555D3F5-C177-4D9C-AA58-EE9B6C657E14}" presName="connectorText" presStyleLbl="sibTrans2D1" presStyleIdx="0" presStyleCnt="3"/>
      <dgm:spPr/>
    </dgm:pt>
    <dgm:pt modelId="{CDC43798-BAFD-43A7-91C6-A76C22F4ED94}" type="pres">
      <dgm:prSet presAssocID="{B67DEC43-AC19-42FA-A3C8-AD295916D130}" presName="node" presStyleLbl="node1" presStyleIdx="1" presStyleCnt="4">
        <dgm:presLayoutVars>
          <dgm:bulletEnabled val="1"/>
        </dgm:presLayoutVars>
      </dgm:prSet>
      <dgm:spPr/>
    </dgm:pt>
    <dgm:pt modelId="{8F3E2E4E-5291-40E4-B52F-A37E9300DAB4}" type="pres">
      <dgm:prSet presAssocID="{FC9E7DC8-00C6-40D2-AB6E-82908E1D1BE8}" presName="sibTrans" presStyleLbl="sibTrans2D1" presStyleIdx="1" presStyleCnt="3"/>
      <dgm:spPr/>
    </dgm:pt>
    <dgm:pt modelId="{56900131-AA45-48AB-9C82-D1BD72D96E4E}" type="pres">
      <dgm:prSet presAssocID="{FC9E7DC8-00C6-40D2-AB6E-82908E1D1BE8}" presName="connectorText" presStyleLbl="sibTrans2D1" presStyleIdx="1" presStyleCnt="3"/>
      <dgm:spPr/>
    </dgm:pt>
    <dgm:pt modelId="{15A7F6D8-C51F-4943-84EB-803ADB2295B6}" type="pres">
      <dgm:prSet presAssocID="{AEFD70F1-4E44-48CF-8BA2-CD2B0A1D4540}" presName="node" presStyleLbl="node1" presStyleIdx="2" presStyleCnt="4">
        <dgm:presLayoutVars>
          <dgm:bulletEnabled val="1"/>
        </dgm:presLayoutVars>
      </dgm:prSet>
      <dgm:spPr/>
    </dgm:pt>
    <dgm:pt modelId="{BACE23C8-2755-4891-8DA1-E67C7BF8BBAC}" type="pres">
      <dgm:prSet presAssocID="{41E84E90-CE82-4EA8-8B7D-E246209CA00E}" presName="sibTrans" presStyleLbl="sibTrans2D1" presStyleIdx="2" presStyleCnt="3"/>
      <dgm:spPr/>
    </dgm:pt>
    <dgm:pt modelId="{8DE05640-DD3D-4546-AFB9-91559A227A85}" type="pres">
      <dgm:prSet presAssocID="{41E84E90-CE82-4EA8-8B7D-E246209CA00E}" presName="connectorText" presStyleLbl="sibTrans2D1" presStyleIdx="2" presStyleCnt="3"/>
      <dgm:spPr/>
    </dgm:pt>
    <dgm:pt modelId="{806648C0-0A80-487D-B830-C4E582D6A19D}" type="pres">
      <dgm:prSet presAssocID="{43583AF7-E2CB-421B-8769-773088C64C99}" presName="node" presStyleLbl="node1" presStyleIdx="3" presStyleCnt="4">
        <dgm:presLayoutVars>
          <dgm:bulletEnabled val="1"/>
        </dgm:presLayoutVars>
      </dgm:prSet>
      <dgm:spPr/>
    </dgm:pt>
  </dgm:ptLst>
  <dgm:cxnLst>
    <dgm:cxn modelId="{A0273701-03AA-4B87-8911-B9FC0AFD3960}" type="presOf" srcId="{43583AF7-E2CB-421B-8769-773088C64C99}" destId="{806648C0-0A80-487D-B830-C4E582D6A19D}" srcOrd="0" destOrd="0" presId="urn:microsoft.com/office/officeart/2005/8/layout/process1"/>
    <dgm:cxn modelId="{7057AA1D-6785-426B-BD67-6109D38F0B5B}" srcId="{AF14A060-6EA8-4689-91D4-EAFAE4490025}" destId="{51671085-02F3-405A-8575-7E66EBB14A6F}" srcOrd="0" destOrd="0" parTransId="{0F527D44-5C06-47D8-AA29-3031FEFC1FB5}" sibTransId="{3555D3F5-C177-4D9C-AA58-EE9B6C657E14}"/>
    <dgm:cxn modelId="{03B2FE35-0EF1-46B1-98AB-03DF697A3EB8}" type="presOf" srcId="{51671085-02F3-405A-8575-7E66EBB14A6F}" destId="{8732B702-4E3E-4E05-BD4C-9EB4D2F7C68C}" srcOrd="0" destOrd="0" presId="urn:microsoft.com/office/officeart/2005/8/layout/process1"/>
    <dgm:cxn modelId="{8090A669-3FA1-4D7C-806F-4033F61B3658}" type="presOf" srcId="{AF14A060-6EA8-4689-91D4-EAFAE4490025}" destId="{4DA56011-4562-4934-950B-629CBE6791E2}" srcOrd="0" destOrd="0" presId="urn:microsoft.com/office/officeart/2005/8/layout/process1"/>
    <dgm:cxn modelId="{A96C904E-1B76-4AEB-B3FE-5B66EE9397A6}" srcId="{AF14A060-6EA8-4689-91D4-EAFAE4490025}" destId="{AEFD70F1-4E44-48CF-8BA2-CD2B0A1D4540}" srcOrd="2" destOrd="0" parTransId="{7EBFC9F4-E440-4CFC-921B-68F17DF63152}" sibTransId="{41E84E90-CE82-4EA8-8B7D-E246209CA00E}"/>
    <dgm:cxn modelId="{27527474-E4D1-436A-AE04-CEC9F9ED0CAA}" type="presOf" srcId="{3555D3F5-C177-4D9C-AA58-EE9B6C657E14}" destId="{30C46F76-4BFD-482C-92B7-2DE482133FB7}" srcOrd="0" destOrd="0" presId="urn:microsoft.com/office/officeart/2005/8/layout/process1"/>
    <dgm:cxn modelId="{223B6A55-9BBC-4434-A8C4-14DF84031712}" srcId="{AF14A060-6EA8-4689-91D4-EAFAE4490025}" destId="{43583AF7-E2CB-421B-8769-773088C64C99}" srcOrd="3" destOrd="0" parTransId="{B3C28644-26AB-4503-990A-02978A2A6480}" sibTransId="{189EA1D6-37B0-4C52-B4BB-841B252CB900}"/>
    <dgm:cxn modelId="{7B89EA79-CDDA-4A11-BF68-DE565F822DB6}" type="presOf" srcId="{41E84E90-CE82-4EA8-8B7D-E246209CA00E}" destId="{8DE05640-DD3D-4546-AFB9-91559A227A85}" srcOrd="1" destOrd="0" presId="urn:microsoft.com/office/officeart/2005/8/layout/process1"/>
    <dgm:cxn modelId="{3D489998-0931-46C1-9F28-EE4CD4DC5619}" type="presOf" srcId="{41E84E90-CE82-4EA8-8B7D-E246209CA00E}" destId="{BACE23C8-2755-4891-8DA1-E67C7BF8BBAC}" srcOrd="0" destOrd="0" presId="urn:microsoft.com/office/officeart/2005/8/layout/process1"/>
    <dgm:cxn modelId="{F6324D9E-74B7-487B-8608-42904EFED142}" type="presOf" srcId="{3555D3F5-C177-4D9C-AA58-EE9B6C657E14}" destId="{023F1310-2676-4B05-BDED-98A95A81A502}" srcOrd="1" destOrd="0" presId="urn:microsoft.com/office/officeart/2005/8/layout/process1"/>
    <dgm:cxn modelId="{C4F1E9B3-6E99-4261-8CB2-C5584AE091D9}" type="presOf" srcId="{FC9E7DC8-00C6-40D2-AB6E-82908E1D1BE8}" destId="{56900131-AA45-48AB-9C82-D1BD72D96E4E}" srcOrd="1" destOrd="0" presId="urn:microsoft.com/office/officeart/2005/8/layout/process1"/>
    <dgm:cxn modelId="{E57795B5-0369-4DDB-A329-157C54EB343C}" type="presOf" srcId="{AEFD70F1-4E44-48CF-8BA2-CD2B0A1D4540}" destId="{15A7F6D8-C51F-4943-84EB-803ADB2295B6}" srcOrd="0" destOrd="0" presId="urn:microsoft.com/office/officeart/2005/8/layout/process1"/>
    <dgm:cxn modelId="{286C53BC-9843-48CC-8F58-7B7EF5DEB09D}" type="presOf" srcId="{FC9E7DC8-00C6-40D2-AB6E-82908E1D1BE8}" destId="{8F3E2E4E-5291-40E4-B52F-A37E9300DAB4}" srcOrd="0" destOrd="0" presId="urn:microsoft.com/office/officeart/2005/8/layout/process1"/>
    <dgm:cxn modelId="{4B88E2E0-8000-4960-A6D5-24A68DBF0E40}" type="presOf" srcId="{B67DEC43-AC19-42FA-A3C8-AD295916D130}" destId="{CDC43798-BAFD-43A7-91C6-A76C22F4ED94}" srcOrd="0" destOrd="0" presId="urn:microsoft.com/office/officeart/2005/8/layout/process1"/>
    <dgm:cxn modelId="{1EDF34F0-4772-4A31-89C3-F817C22E66DD}" srcId="{AF14A060-6EA8-4689-91D4-EAFAE4490025}" destId="{B67DEC43-AC19-42FA-A3C8-AD295916D130}" srcOrd="1" destOrd="0" parTransId="{6D04D532-C368-4EB0-AEB3-C3635DDB5EBF}" sibTransId="{FC9E7DC8-00C6-40D2-AB6E-82908E1D1BE8}"/>
    <dgm:cxn modelId="{790EA993-DFB5-4907-9502-72DD9782B666}" type="presParOf" srcId="{4DA56011-4562-4934-950B-629CBE6791E2}" destId="{8732B702-4E3E-4E05-BD4C-9EB4D2F7C68C}" srcOrd="0" destOrd="0" presId="urn:microsoft.com/office/officeart/2005/8/layout/process1"/>
    <dgm:cxn modelId="{CA5D7345-D83C-475A-B237-4A6AB493C9B9}" type="presParOf" srcId="{4DA56011-4562-4934-950B-629CBE6791E2}" destId="{30C46F76-4BFD-482C-92B7-2DE482133FB7}" srcOrd="1" destOrd="0" presId="urn:microsoft.com/office/officeart/2005/8/layout/process1"/>
    <dgm:cxn modelId="{B533B961-3E90-43AD-9964-90A397DE6A25}" type="presParOf" srcId="{30C46F76-4BFD-482C-92B7-2DE482133FB7}" destId="{023F1310-2676-4B05-BDED-98A95A81A502}" srcOrd="0" destOrd="0" presId="urn:microsoft.com/office/officeart/2005/8/layout/process1"/>
    <dgm:cxn modelId="{47F2E07C-3768-4D13-B687-9ED21B60D9E8}" type="presParOf" srcId="{4DA56011-4562-4934-950B-629CBE6791E2}" destId="{CDC43798-BAFD-43A7-91C6-A76C22F4ED94}" srcOrd="2" destOrd="0" presId="urn:microsoft.com/office/officeart/2005/8/layout/process1"/>
    <dgm:cxn modelId="{DD9A362A-9547-479D-960C-84819AACB27F}" type="presParOf" srcId="{4DA56011-4562-4934-950B-629CBE6791E2}" destId="{8F3E2E4E-5291-40E4-B52F-A37E9300DAB4}" srcOrd="3" destOrd="0" presId="urn:microsoft.com/office/officeart/2005/8/layout/process1"/>
    <dgm:cxn modelId="{3BB75E53-874A-4718-A187-1C7A671AF863}" type="presParOf" srcId="{8F3E2E4E-5291-40E4-B52F-A37E9300DAB4}" destId="{56900131-AA45-48AB-9C82-D1BD72D96E4E}" srcOrd="0" destOrd="0" presId="urn:microsoft.com/office/officeart/2005/8/layout/process1"/>
    <dgm:cxn modelId="{449A0F1C-D467-424E-BDCD-A7201ABD4119}" type="presParOf" srcId="{4DA56011-4562-4934-950B-629CBE6791E2}" destId="{15A7F6D8-C51F-4943-84EB-803ADB2295B6}" srcOrd="4" destOrd="0" presId="urn:microsoft.com/office/officeart/2005/8/layout/process1"/>
    <dgm:cxn modelId="{01FD368C-1BF5-410A-B2E3-BFC971C88577}" type="presParOf" srcId="{4DA56011-4562-4934-950B-629CBE6791E2}" destId="{BACE23C8-2755-4891-8DA1-E67C7BF8BBAC}" srcOrd="5" destOrd="0" presId="urn:microsoft.com/office/officeart/2005/8/layout/process1"/>
    <dgm:cxn modelId="{B3382888-642B-4E50-8E56-DAB80C66C4FF}" type="presParOf" srcId="{BACE23C8-2755-4891-8DA1-E67C7BF8BBAC}" destId="{8DE05640-DD3D-4546-AFB9-91559A227A85}" srcOrd="0" destOrd="0" presId="urn:microsoft.com/office/officeart/2005/8/layout/process1"/>
    <dgm:cxn modelId="{5AEBF203-3487-4D41-A09B-1F2FBA9F3CE6}" type="presParOf" srcId="{4DA56011-4562-4934-950B-629CBE6791E2}" destId="{806648C0-0A80-487D-B830-C4E582D6A19D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AD1B675-0307-4642-9EAA-E643BF816857}" type="doc">
      <dgm:prSet loTypeId="urn:microsoft.com/office/officeart/2008/layout/PictureStrip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zh-CN" altLang="en-US"/>
        </a:p>
      </dgm:t>
    </dgm:pt>
    <dgm:pt modelId="{3D8E44B5-52BA-4135-BF20-5BF8758558D7}">
      <dgm:prSet phldrT="[文本]"/>
      <dgm:spPr/>
      <dgm:t>
        <a:bodyPr/>
        <a:lstStyle/>
        <a:p>
          <a:r>
            <a:rPr lang="zh-CN" altLang="en-US" dirty="0"/>
            <a:t>用户上传 </a:t>
          </a:r>
          <a:r>
            <a:rPr lang="en-US" dirty="0"/>
            <a:t>PDF</a:t>
          </a:r>
          <a:endParaRPr lang="zh-CN" altLang="en-US" dirty="0"/>
        </a:p>
      </dgm:t>
    </dgm:pt>
    <dgm:pt modelId="{A1411E6F-D96A-4CA7-AA15-FF128BB2B597}" type="parTrans" cxnId="{FF5F6466-A8C3-4B9B-9F01-DA66D2CC9428}">
      <dgm:prSet/>
      <dgm:spPr/>
      <dgm:t>
        <a:bodyPr/>
        <a:lstStyle/>
        <a:p>
          <a:endParaRPr lang="zh-CN" altLang="en-US"/>
        </a:p>
      </dgm:t>
    </dgm:pt>
    <dgm:pt modelId="{A3B49BA9-05B8-424C-BB95-AF50AB296877}" type="sibTrans" cxnId="{FF5F6466-A8C3-4B9B-9F01-DA66D2CC9428}">
      <dgm:prSet/>
      <dgm:spPr/>
      <dgm:t>
        <a:bodyPr/>
        <a:lstStyle/>
        <a:p>
          <a:endParaRPr lang="zh-CN" altLang="en-US"/>
        </a:p>
      </dgm:t>
    </dgm:pt>
    <dgm:pt modelId="{8949970D-7BB0-4DE0-9900-A29E5E8FBD81}">
      <dgm:prSet phldrT="[文本]"/>
      <dgm:spPr/>
      <dgm:t>
        <a:bodyPr/>
        <a:lstStyle/>
        <a:p>
          <a:r>
            <a:rPr lang="zh-CN" altLang="en-US" dirty="0"/>
            <a:t>总结生成</a:t>
          </a:r>
          <a:endParaRPr lang="en-US" altLang="zh-CN" dirty="0"/>
        </a:p>
        <a:p>
          <a:r>
            <a:rPr lang="zh-CN" altLang="en-US" dirty="0"/>
            <a:t>（通义千问 </a:t>
          </a:r>
          <a:r>
            <a:rPr lang="en-US" altLang="zh-CN" dirty="0"/>
            <a:t>API</a:t>
          </a:r>
          <a:r>
            <a:rPr lang="zh-CN" altLang="en-US" dirty="0"/>
            <a:t>）</a:t>
          </a:r>
        </a:p>
      </dgm:t>
    </dgm:pt>
    <dgm:pt modelId="{1074FD36-3003-4F32-AB30-3806AE1EB97C}" type="parTrans" cxnId="{90AEE944-E0D6-464C-822A-52050207C5A5}">
      <dgm:prSet/>
      <dgm:spPr/>
      <dgm:t>
        <a:bodyPr/>
        <a:lstStyle/>
        <a:p>
          <a:endParaRPr lang="zh-CN" altLang="en-US"/>
        </a:p>
      </dgm:t>
    </dgm:pt>
    <dgm:pt modelId="{50833253-D601-4DF3-9999-A5D6AED43E80}" type="sibTrans" cxnId="{90AEE944-E0D6-464C-822A-52050207C5A5}">
      <dgm:prSet/>
      <dgm:spPr/>
      <dgm:t>
        <a:bodyPr/>
        <a:lstStyle/>
        <a:p>
          <a:endParaRPr lang="zh-CN" altLang="en-US"/>
        </a:p>
      </dgm:t>
    </dgm:pt>
    <dgm:pt modelId="{95C90034-65A7-4A5D-BFA5-712AC945B8A9}">
      <dgm:prSet phldrT="[文本]"/>
      <dgm:spPr/>
      <dgm:t>
        <a:bodyPr/>
        <a:lstStyle/>
        <a:p>
          <a:r>
            <a:rPr lang="zh-CN" altLang="en-US" dirty="0"/>
            <a:t>结果展示（</a:t>
          </a:r>
          <a:r>
            <a:rPr lang="en-US" dirty="0" err="1"/>
            <a:t>Gradio</a:t>
          </a:r>
          <a:r>
            <a:rPr lang="en-US" dirty="0"/>
            <a:t>）</a:t>
          </a:r>
          <a:endParaRPr lang="zh-CN" altLang="en-US" dirty="0"/>
        </a:p>
      </dgm:t>
    </dgm:pt>
    <dgm:pt modelId="{6C42C448-22EB-45E7-A5EA-B3AA41A997D1}" type="parTrans" cxnId="{6A80BA8B-6A16-4A5E-9589-A9FF0E4DA033}">
      <dgm:prSet/>
      <dgm:spPr/>
      <dgm:t>
        <a:bodyPr/>
        <a:lstStyle/>
        <a:p>
          <a:endParaRPr lang="zh-CN" altLang="en-US"/>
        </a:p>
      </dgm:t>
    </dgm:pt>
    <dgm:pt modelId="{719F5359-0C0E-4DDE-AB4A-E1037EFEE9F3}" type="sibTrans" cxnId="{6A80BA8B-6A16-4A5E-9589-A9FF0E4DA033}">
      <dgm:prSet/>
      <dgm:spPr/>
      <dgm:t>
        <a:bodyPr/>
        <a:lstStyle/>
        <a:p>
          <a:endParaRPr lang="zh-CN" altLang="en-US"/>
        </a:p>
      </dgm:t>
    </dgm:pt>
    <dgm:pt modelId="{84B7867E-71DB-4AF8-A744-3D8617D804B1}">
      <dgm:prSet/>
      <dgm:spPr/>
      <dgm:t>
        <a:bodyPr/>
        <a:lstStyle/>
        <a:p>
          <a:r>
            <a:rPr lang="zh-CN" altLang="en-US" dirty="0"/>
            <a:t>文档解析</a:t>
          </a:r>
          <a:endParaRPr lang="en-US" altLang="zh-CN" dirty="0"/>
        </a:p>
        <a:p>
          <a:r>
            <a:rPr lang="zh-CN" altLang="en-US" dirty="0"/>
            <a:t>（</a:t>
          </a:r>
          <a:r>
            <a:rPr lang="en-US" dirty="0" err="1"/>
            <a:t>pdfplumber</a:t>
          </a:r>
          <a:r>
            <a:rPr lang="en-US" dirty="0"/>
            <a:t>）</a:t>
          </a:r>
        </a:p>
      </dgm:t>
    </dgm:pt>
    <dgm:pt modelId="{E439BE04-D788-439E-9536-BC99BB71F21D}" type="parTrans" cxnId="{0B0FCB0B-55B9-477C-8C7A-A699DCB5F9C6}">
      <dgm:prSet/>
      <dgm:spPr/>
      <dgm:t>
        <a:bodyPr/>
        <a:lstStyle/>
        <a:p>
          <a:endParaRPr lang="zh-CN" altLang="en-US"/>
        </a:p>
      </dgm:t>
    </dgm:pt>
    <dgm:pt modelId="{7336A622-6363-4BC7-9DEA-2C14AD652510}" type="sibTrans" cxnId="{0B0FCB0B-55B9-477C-8C7A-A699DCB5F9C6}">
      <dgm:prSet/>
      <dgm:spPr/>
      <dgm:t>
        <a:bodyPr/>
        <a:lstStyle/>
        <a:p>
          <a:endParaRPr lang="zh-CN" altLang="en-US"/>
        </a:p>
      </dgm:t>
    </dgm:pt>
    <dgm:pt modelId="{CE23F792-4C02-4C30-82C3-F2D14923FF70}" type="pres">
      <dgm:prSet presAssocID="{7AD1B675-0307-4642-9EAA-E643BF816857}" presName="Name0" presStyleCnt="0">
        <dgm:presLayoutVars>
          <dgm:dir/>
          <dgm:resizeHandles val="exact"/>
        </dgm:presLayoutVars>
      </dgm:prSet>
      <dgm:spPr/>
    </dgm:pt>
    <dgm:pt modelId="{957C3E9D-263F-47AC-A914-AC8BD0BD4264}" type="pres">
      <dgm:prSet presAssocID="{3D8E44B5-52BA-4135-BF20-5BF8758558D7}" presName="composite" presStyleCnt="0"/>
      <dgm:spPr/>
    </dgm:pt>
    <dgm:pt modelId="{09448E58-F5CE-45A3-A175-55D22233ACDF}" type="pres">
      <dgm:prSet presAssocID="{3D8E44B5-52BA-4135-BF20-5BF8758558D7}" presName="rect1" presStyleLbl="trAlignAcc1" presStyleIdx="0" presStyleCnt="4">
        <dgm:presLayoutVars>
          <dgm:bulletEnabled val="1"/>
        </dgm:presLayoutVars>
      </dgm:prSet>
      <dgm:spPr/>
    </dgm:pt>
    <dgm:pt modelId="{E48E7C1C-835C-4873-989A-9164AEC966CC}" type="pres">
      <dgm:prSet presAssocID="{3D8E44B5-52BA-4135-BF20-5BF8758558D7}" presName="rect2" presStyleLbl="fgImgPlace1" presStyleIdx="0" presStyleCnt="4"/>
      <dgm:spPr/>
    </dgm:pt>
    <dgm:pt modelId="{914E0513-F027-4856-B0EE-9B4854F26A14}" type="pres">
      <dgm:prSet presAssocID="{A3B49BA9-05B8-424C-BB95-AF50AB296877}" presName="sibTrans" presStyleCnt="0"/>
      <dgm:spPr/>
    </dgm:pt>
    <dgm:pt modelId="{F0F435F8-CB0F-48C1-AA45-04EA9FA27645}" type="pres">
      <dgm:prSet presAssocID="{8949970D-7BB0-4DE0-9900-A29E5E8FBD81}" presName="composite" presStyleCnt="0"/>
      <dgm:spPr/>
    </dgm:pt>
    <dgm:pt modelId="{7E4E6A95-BDAF-4147-9777-A4C3274CEFAF}" type="pres">
      <dgm:prSet presAssocID="{8949970D-7BB0-4DE0-9900-A29E5E8FBD81}" presName="rect1" presStyleLbl="trAlignAcc1" presStyleIdx="1" presStyleCnt="4">
        <dgm:presLayoutVars>
          <dgm:bulletEnabled val="1"/>
        </dgm:presLayoutVars>
      </dgm:prSet>
      <dgm:spPr/>
    </dgm:pt>
    <dgm:pt modelId="{AC5CE93D-7934-4261-8CC7-E52846926FBA}" type="pres">
      <dgm:prSet presAssocID="{8949970D-7BB0-4DE0-9900-A29E5E8FBD81}" presName="rect2" presStyleLbl="fgImgPlace1" presStyleIdx="1" presStyleCnt="4"/>
      <dgm:spPr/>
    </dgm:pt>
    <dgm:pt modelId="{1A8A4971-463B-4C3F-9D7F-E9117C658079}" type="pres">
      <dgm:prSet presAssocID="{50833253-D601-4DF3-9999-A5D6AED43E80}" presName="sibTrans" presStyleCnt="0"/>
      <dgm:spPr/>
    </dgm:pt>
    <dgm:pt modelId="{02942A4D-3740-4E13-8A6D-FBF965B1579B}" type="pres">
      <dgm:prSet presAssocID="{84B7867E-71DB-4AF8-A744-3D8617D804B1}" presName="composite" presStyleCnt="0"/>
      <dgm:spPr/>
    </dgm:pt>
    <dgm:pt modelId="{575A9C9C-255B-4896-A7B4-40BF557FF066}" type="pres">
      <dgm:prSet presAssocID="{84B7867E-71DB-4AF8-A744-3D8617D804B1}" presName="rect1" presStyleLbl="trAlignAcc1" presStyleIdx="2" presStyleCnt="4">
        <dgm:presLayoutVars>
          <dgm:bulletEnabled val="1"/>
        </dgm:presLayoutVars>
      </dgm:prSet>
      <dgm:spPr/>
    </dgm:pt>
    <dgm:pt modelId="{38DF0CCD-F562-4CB2-8D93-5A19A767B3F3}" type="pres">
      <dgm:prSet presAssocID="{84B7867E-71DB-4AF8-A744-3D8617D804B1}" presName="rect2" presStyleLbl="fgImgPlace1" presStyleIdx="2" presStyleCnt="4"/>
      <dgm:spPr/>
    </dgm:pt>
    <dgm:pt modelId="{529E10FE-350F-4928-A19E-C21E1DA4980E}" type="pres">
      <dgm:prSet presAssocID="{7336A622-6363-4BC7-9DEA-2C14AD652510}" presName="sibTrans" presStyleCnt="0"/>
      <dgm:spPr/>
    </dgm:pt>
    <dgm:pt modelId="{9A2F26FE-3A58-4304-8926-D47ECD5D467E}" type="pres">
      <dgm:prSet presAssocID="{95C90034-65A7-4A5D-BFA5-712AC945B8A9}" presName="composite" presStyleCnt="0"/>
      <dgm:spPr/>
    </dgm:pt>
    <dgm:pt modelId="{DA55513F-7313-4852-9C9F-4ED90B938FDA}" type="pres">
      <dgm:prSet presAssocID="{95C90034-65A7-4A5D-BFA5-712AC945B8A9}" presName="rect1" presStyleLbl="trAlignAcc1" presStyleIdx="3" presStyleCnt="4">
        <dgm:presLayoutVars>
          <dgm:bulletEnabled val="1"/>
        </dgm:presLayoutVars>
      </dgm:prSet>
      <dgm:spPr/>
    </dgm:pt>
    <dgm:pt modelId="{9D172A98-0B99-401B-9F19-561CB0D579AB}" type="pres">
      <dgm:prSet presAssocID="{95C90034-65A7-4A5D-BFA5-712AC945B8A9}" presName="rect2" presStyleLbl="fgImgPlace1" presStyleIdx="3" presStyleCnt="4"/>
      <dgm:spPr/>
    </dgm:pt>
  </dgm:ptLst>
  <dgm:cxnLst>
    <dgm:cxn modelId="{0B0FCB0B-55B9-477C-8C7A-A699DCB5F9C6}" srcId="{7AD1B675-0307-4642-9EAA-E643BF816857}" destId="{84B7867E-71DB-4AF8-A744-3D8617D804B1}" srcOrd="2" destOrd="0" parTransId="{E439BE04-D788-439E-9536-BC99BB71F21D}" sibTransId="{7336A622-6363-4BC7-9DEA-2C14AD652510}"/>
    <dgm:cxn modelId="{D6CC9636-0059-4E9C-94CC-D4DB95E67EC4}" type="presOf" srcId="{8949970D-7BB0-4DE0-9900-A29E5E8FBD81}" destId="{7E4E6A95-BDAF-4147-9777-A4C3274CEFAF}" srcOrd="0" destOrd="0" presId="urn:microsoft.com/office/officeart/2008/layout/PictureStrips"/>
    <dgm:cxn modelId="{4C7D855B-7445-4AEB-953D-BA82C699524E}" type="presOf" srcId="{95C90034-65A7-4A5D-BFA5-712AC945B8A9}" destId="{DA55513F-7313-4852-9C9F-4ED90B938FDA}" srcOrd="0" destOrd="0" presId="urn:microsoft.com/office/officeart/2008/layout/PictureStrips"/>
    <dgm:cxn modelId="{90AEE944-E0D6-464C-822A-52050207C5A5}" srcId="{7AD1B675-0307-4642-9EAA-E643BF816857}" destId="{8949970D-7BB0-4DE0-9900-A29E5E8FBD81}" srcOrd="1" destOrd="0" parTransId="{1074FD36-3003-4F32-AB30-3806AE1EB97C}" sibTransId="{50833253-D601-4DF3-9999-A5D6AED43E80}"/>
    <dgm:cxn modelId="{FF5F6466-A8C3-4B9B-9F01-DA66D2CC9428}" srcId="{7AD1B675-0307-4642-9EAA-E643BF816857}" destId="{3D8E44B5-52BA-4135-BF20-5BF8758558D7}" srcOrd="0" destOrd="0" parTransId="{A1411E6F-D96A-4CA7-AA15-FF128BB2B597}" sibTransId="{A3B49BA9-05B8-424C-BB95-AF50AB296877}"/>
    <dgm:cxn modelId="{6A80BA8B-6A16-4A5E-9589-A9FF0E4DA033}" srcId="{7AD1B675-0307-4642-9EAA-E643BF816857}" destId="{95C90034-65A7-4A5D-BFA5-712AC945B8A9}" srcOrd="3" destOrd="0" parTransId="{6C42C448-22EB-45E7-A5EA-B3AA41A997D1}" sibTransId="{719F5359-0C0E-4DDE-AB4A-E1037EFEE9F3}"/>
    <dgm:cxn modelId="{D153209C-1AC7-450E-B0D5-8484F41D94B4}" type="presOf" srcId="{7AD1B675-0307-4642-9EAA-E643BF816857}" destId="{CE23F792-4C02-4C30-82C3-F2D14923FF70}" srcOrd="0" destOrd="0" presId="urn:microsoft.com/office/officeart/2008/layout/PictureStrips"/>
    <dgm:cxn modelId="{4E5525BD-0041-415A-9841-F0DB64E33FF3}" type="presOf" srcId="{3D8E44B5-52BA-4135-BF20-5BF8758558D7}" destId="{09448E58-F5CE-45A3-A175-55D22233ACDF}" srcOrd="0" destOrd="0" presId="urn:microsoft.com/office/officeart/2008/layout/PictureStrips"/>
    <dgm:cxn modelId="{CB04FAFE-C2FB-46B8-BE3D-19B709899542}" type="presOf" srcId="{84B7867E-71DB-4AF8-A744-3D8617D804B1}" destId="{575A9C9C-255B-4896-A7B4-40BF557FF066}" srcOrd="0" destOrd="0" presId="urn:microsoft.com/office/officeart/2008/layout/PictureStrips"/>
    <dgm:cxn modelId="{DCBAC868-C284-4535-A9AE-D95EDC3AC1F1}" type="presParOf" srcId="{CE23F792-4C02-4C30-82C3-F2D14923FF70}" destId="{957C3E9D-263F-47AC-A914-AC8BD0BD4264}" srcOrd="0" destOrd="0" presId="urn:microsoft.com/office/officeart/2008/layout/PictureStrips"/>
    <dgm:cxn modelId="{9A55914E-CCC3-4AA7-9300-2B1FED1E0616}" type="presParOf" srcId="{957C3E9D-263F-47AC-A914-AC8BD0BD4264}" destId="{09448E58-F5CE-45A3-A175-55D22233ACDF}" srcOrd="0" destOrd="0" presId="urn:microsoft.com/office/officeart/2008/layout/PictureStrips"/>
    <dgm:cxn modelId="{8C580E5C-893E-459E-BDEF-36CB9F2D0A4A}" type="presParOf" srcId="{957C3E9D-263F-47AC-A914-AC8BD0BD4264}" destId="{E48E7C1C-835C-4873-989A-9164AEC966CC}" srcOrd="1" destOrd="0" presId="urn:microsoft.com/office/officeart/2008/layout/PictureStrips"/>
    <dgm:cxn modelId="{7F62E91B-C8A0-42F8-A553-8FCD9B6D77C1}" type="presParOf" srcId="{CE23F792-4C02-4C30-82C3-F2D14923FF70}" destId="{914E0513-F027-4856-B0EE-9B4854F26A14}" srcOrd="1" destOrd="0" presId="urn:microsoft.com/office/officeart/2008/layout/PictureStrips"/>
    <dgm:cxn modelId="{E52C4510-A4C4-44CD-BCEE-9449839FA5A8}" type="presParOf" srcId="{CE23F792-4C02-4C30-82C3-F2D14923FF70}" destId="{F0F435F8-CB0F-48C1-AA45-04EA9FA27645}" srcOrd="2" destOrd="0" presId="urn:microsoft.com/office/officeart/2008/layout/PictureStrips"/>
    <dgm:cxn modelId="{0A2A6EDF-67EE-43DF-B762-DEFB72326C0C}" type="presParOf" srcId="{F0F435F8-CB0F-48C1-AA45-04EA9FA27645}" destId="{7E4E6A95-BDAF-4147-9777-A4C3274CEFAF}" srcOrd="0" destOrd="0" presId="urn:microsoft.com/office/officeart/2008/layout/PictureStrips"/>
    <dgm:cxn modelId="{66BC402A-B179-45B4-A105-53415420DAC5}" type="presParOf" srcId="{F0F435F8-CB0F-48C1-AA45-04EA9FA27645}" destId="{AC5CE93D-7934-4261-8CC7-E52846926FBA}" srcOrd="1" destOrd="0" presId="urn:microsoft.com/office/officeart/2008/layout/PictureStrips"/>
    <dgm:cxn modelId="{186F3E69-C0C9-46F9-9F5F-AC5BCB5972DF}" type="presParOf" srcId="{CE23F792-4C02-4C30-82C3-F2D14923FF70}" destId="{1A8A4971-463B-4C3F-9D7F-E9117C658079}" srcOrd="3" destOrd="0" presId="urn:microsoft.com/office/officeart/2008/layout/PictureStrips"/>
    <dgm:cxn modelId="{6624E406-8BB9-411A-846A-8F1035C61AF5}" type="presParOf" srcId="{CE23F792-4C02-4C30-82C3-F2D14923FF70}" destId="{02942A4D-3740-4E13-8A6D-FBF965B1579B}" srcOrd="4" destOrd="0" presId="urn:microsoft.com/office/officeart/2008/layout/PictureStrips"/>
    <dgm:cxn modelId="{DEAE0963-E314-4D2C-8D50-BD6148E73B8B}" type="presParOf" srcId="{02942A4D-3740-4E13-8A6D-FBF965B1579B}" destId="{575A9C9C-255B-4896-A7B4-40BF557FF066}" srcOrd="0" destOrd="0" presId="urn:microsoft.com/office/officeart/2008/layout/PictureStrips"/>
    <dgm:cxn modelId="{0F2CB0E8-788D-4B5E-90F3-51DED0CEE88E}" type="presParOf" srcId="{02942A4D-3740-4E13-8A6D-FBF965B1579B}" destId="{38DF0CCD-F562-4CB2-8D93-5A19A767B3F3}" srcOrd="1" destOrd="0" presId="urn:microsoft.com/office/officeart/2008/layout/PictureStrips"/>
    <dgm:cxn modelId="{2AC6EE78-EDE9-4D23-A7A5-451F6265C5FC}" type="presParOf" srcId="{CE23F792-4C02-4C30-82C3-F2D14923FF70}" destId="{529E10FE-350F-4928-A19E-C21E1DA4980E}" srcOrd="5" destOrd="0" presId="urn:microsoft.com/office/officeart/2008/layout/PictureStrips"/>
    <dgm:cxn modelId="{9BF234CA-27D0-4277-8CDD-0C6B8B01DE2F}" type="presParOf" srcId="{CE23F792-4C02-4C30-82C3-F2D14923FF70}" destId="{9A2F26FE-3A58-4304-8926-D47ECD5D467E}" srcOrd="6" destOrd="0" presId="urn:microsoft.com/office/officeart/2008/layout/PictureStrips"/>
    <dgm:cxn modelId="{6DF48B60-19D2-47A9-BCB9-8B8D4B3ADFD5}" type="presParOf" srcId="{9A2F26FE-3A58-4304-8926-D47ECD5D467E}" destId="{DA55513F-7313-4852-9C9F-4ED90B938FDA}" srcOrd="0" destOrd="0" presId="urn:microsoft.com/office/officeart/2008/layout/PictureStrips"/>
    <dgm:cxn modelId="{19F573FD-CF9F-4F32-8184-DE96A2A9A6F2}" type="presParOf" srcId="{9A2F26FE-3A58-4304-8926-D47ECD5D467E}" destId="{9D172A98-0B99-401B-9F19-561CB0D579A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6519180-8FCF-43C3-9556-0FDCC16C3116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6055BFF-43F1-4E52-B276-D3E54B52B1BB}">
      <dgm:prSet phldrT="[文本]"/>
      <dgm:spPr/>
      <dgm:t>
        <a:bodyPr/>
        <a:lstStyle/>
        <a:p>
          <a:r>
            <a:rPr lang="zh-CN" altLang="en-US" dirty="0"/>
            <a:t>短期</a:t>
          </a:r>
        </a:p>
      </dgm:t>
    </dgm:pt>
    <dgm:pt modelId="{3DBCAB6A-A91F-40EB-87CA-DE8CFDB19734}" type="parTrans" cxnId="{792767C9-6101-4C08-B0BE-C887446BF20C}">
      <dgm:prSet/>
      <dgm:spPr/>
      <dgm:t>
        <a:bodyPr/>
        <a:lstStyle/>
        <a:p>
          <a:endParaRPr lang="zh-CN" altLang="en-US"/>
        </a:p>
      </dgm:t>
    </dgm:pt>
    <dgm:pt modelId="{4756333F-3AC0-47C0-909F-2C42FDF4812C}" type="sibTrans" cxnId="{792767C9-6101-4C08-B0BE-C887446BF20C}">
      <dgm:prSet/>
      <dgm:spPr/>
      <dgm:t>
        <a:bodyPr/>
        <a:lstStyle/>
        <a:p>
          <a:endParaRPr lang="zh-CN" altLang="en-US"/>
        </a:p>
      </dgm:t>
    </dgm:pt>
    <dgm:pt modelId="{32F1525C-F4BD-46CC-996C-31C872EB3961}">
      <dgm:prSet phldrT="[文本]" custT="1"/>
      <dgm:spPr/>
      <dgm:t>
        <a:bodyPr/>
        <a:lstStyle/>
        <a:p>
          <a:r>
            <a:rPr lang="zh-CN" altLang="en-US" sz="1800" dirty="0"/>
            <a:t>容错提示、</a:t>
          </a:r>
          <a:r>
            <a:rPr lang="en-US" altLang="zh-CN" sz="1800" dirty="0"/>
            <a:t>UI</a:t>
          </a:r>
          <a:r>
            <a:rPr lang="zh-CN" altLang="en-US" sz="1800" dirty="0"/>
            <a:t> 优化</a:t>
          </a:r>
        </a:p>
      </dgm:t>
    </dgm:pt>
    <dgm:pt modelId="{B50C7FA6-44CA-4E39-9F18-C697F44DD7E8}" type="parTrans" cxnId="{BF3C8FA0-168D-4B13-A73D-83AC8C149147}">
      <dgm:prSet/>
      <dgm:spPr/>
      <dgm:t>
        <a:bodyPr/>
        <a:lstStyle/>
        <a:p>
          <a:endParaRPr lang="zh-CN" altLang="en-US"/>
        </a:p>
      </dgm:t>
    </dgm:pt>
    <dgm:pt modelId="{A779409E-FE91-4F25-8E4A-F9580C41E67F}" type="sibTrans" cxnId="{BF3C8FA0-168D-4B13-A73D-83AC8C149147}">
      <dgm:prSet/>
      <dgm:spPr/>
      <dgm:t>
        <a:bodyPr/>
        <a:lstStyle/>
        <a:p>
          <a:endParaRPr lang="zh-CN" altLang="en-US"/>
        </a:p>
      </dgm:t>
    </dgm:pt>
    <dgm:pt modelId="{9169A67C-BA4C-4AD6-AA04-AEFB4653AA3E}">
      <dgm:prSet phldrT="[文本]"/>
      <dgm:spPr/>
      <dgm:t>
        <a:bodyPr/>
        <a:lstStyle/>
        <a:p>
          <a:r>
            <a:rPr lang="zh-CN" altLang="en-US" dirty="0"/>
            <a:t>中期</a:t>
          </a:r>
        </a:p>
      </dgm:t>
    </dgm:pt>
    <dgm:pt modelId="{11CD0D86-CE92-4C5F-87DB-6C8651E4B5CF}" type="parTrans" cxnId="{C907E227-61CD-4AC3-A331-4F2EFD5A410C}">
      <dgm:prSet/>
      <dgm:spPr/>
      <dgm:t>
        <a:bodyPr/>
        <a:lstStyle/>
        <a:p>
          <a:endParaRPr lang="zh-CN" altLang="en-US"/>
        </a:p>
      </dgm:t>
    </dgm:pt>
    <dgm:pt modelId="{14338416-E2E1-4611-8FD3-AADB31BAD38C}" type="sibTrans" cxnId="{C907E227-61CD-4AC3-A331-4F2EFD5A410C}">
      <dgm:prSet/>
      <dgm:spPr/>
      <dgm:t>
        <a:bodyPr/>
        <a:lstStyle/>
        <a:p>
          <a:endParaRPr lang="zh-CN" altLang="en-US"/>
        </a:p>
      </dgm:t>
    </dgm:pt>
    <dgm:pt modelId="{0384E0CB-B4D1-4599-B77A-7AA98396D535}">
      <dgm:prSet phldrT="[文本]" custT="1"/>
      <dgm:spPr/>
      <dgm:t>
        <a:bodyPr/>
        <a:lstStyle/>
        <a:p>
          <a:r>
            <a:rPr lang="en-US" altLang="zh-CN" sz="1800" dirty="0"/>
            <a:t>OCR</a:t>
          </a:r>
          <a:r>
            <a:rPr lang="zh-CN" altLang="en-US" sz="1800" dirty="0"/>
            <a:t>、批量、多格式导出</a:t>
          </a:r>
        </a:p>
      </dgm:t>
    </dgm:pt>
    <dgm:pt modelId="{3B7C4E72-2F54-4396-A658-0AC6B7172A19}" type="parTrans" cxnId="{2A3F52CF-A804-4A66-904B-35A8B7598426}">
      <dgm:prSet/>
      <dgm:spPr/>
      <dgm:t>
        <a:bodyPr/>
        <a:lstStyle/>
        <a:p>
          <a:endParaRPr lang="zh-CN" altLang="en-US"/>
        </a:p>
      </dgm:t>
    </dgm:pt>
    <dgm:pt modelId="{D2D0CC4D-6BD6-45F2-972D-F5E10A427042}" type="sibTrans" cxnId="{2A3F52CF-A804-4A66-904B-35A8B7598426}">
      <dgm:prSet/>
      <dgm:spPr/>
      <dgm:t>
        <a:bodyPr/>
        <a:lstStyle/>
        <a:p>
          <a:endParaRPr lang="zh-CN" altLang="en-US"/>
        </a:p>
      </dgm:t>
    </dgm:pt>
    <dgm:pt modelId="{C9FDE43E-B2E0-4656-82D5-4CC257811FAB}">
      <dgm:prSet phldrT="[文本]"/>
      <dgm:spPr/>
      <dgm:t>
        <a:bodyPr/>
        <a:lstStyle/>
        <a:p>
          <a:r>
            <a:rPr lang="zh-CN" altLang="en-US" dirty="0"/>
            <a:t>长期</a:t>
          </a:r>
        </a:p>
      </dgm:t>
    </dgm:pt>
    <dgm:pt modelId="{D70A221B-8760-4177-9FB9-C144A82E3549}" type="parTrans" cxnId="{70BD2B16-9ED2-45E7-9764-7BF2FFDEAD53}">
      <dgm:prSet/>
      <dgm:spPr/>
      <dgm:t>
        <a:bodyPr/>
        <a:lstStyle/>
        <a:p>
          <a:endParaRPr lang="zh-CN" altLang="en-US"/>
        </a:p>
      </dgm:t>
    </dgm:pt>
    <dgm:pt modelId="{34E973C3-3018-424A-AD90-E3BCF75CDB3F}" type="sibTrans" cxnId="{70BD2B16-9ED2-45E7-9764-7BF2FFDEAD53}">
      <dgm:prSet/>
      <dgm:spPr/>
      <dgm:t>
        <a:bodyPr/>
        <a:lstStyle/>
        <a:p>
          <a:endParaRPr lang="zh-CN" altLang="en-US"/>
        </a:p>
      </dgm:t>
    </dgm:pt>
    <dgm:pt modelId="{F4131AA2-1267-4DA4-B6FB-6B052B5A0BFE}">
      <dgm:prSet phldrT="[文本]" custT="1"/>
      <dgm:spPr/>
      <dgm:t>
        <a:bodyPr/>
        <a:lstStyle/>
        <a:p>
          <a:r>
            <a:rPr lang="zh-CN" altLang="en-US" sz="1800" dirty="0"/>
            <a:t>交互式学习助手、</a:t>
          </a:r>
        </a:p>
      </dgm:t>
    </dgm:pt>
    <dgm:pt modelId="{E3ED6C49-192C-446F-BA57-170E5CF165EE}" type="parTrans" cxnId="{200DFF70-0170-43C5-9954-A688263F00F5}">
      <dgm:prSet/>
      <dgm:spPr/>
      <dgm:t>
        <a:bodyPr/>
        <a:lstStyle/>
        <a:p>
          <a:endParaRPr lang="zh-CN" altLang="en-US"/>
        </a:p>
      </dgm:t>
    </dgm:pt>
    <dgm:pt modelId="{F8E0C759-5313-451C-AC5F-1A9924AE9DD2}" type="sibTrans" cxnId="{200DFF70-0170-43C5-9954-A688263F00F5}">
      <dgm:prSet/>
      <dgm:spPr/>
      <dgm:t>
        <a:bodyPr/>
        <a:lstStyle/>
        <a:p>
          <a:endParaRPr lang="zh-CN" altLang="en-US"/>
        </a:p>
      </dgm:t>
    </dgm:pt>
    <dgm:pt modelId="{4EC076D1-FFEC-453A-9F91-2566C454587D}">
      <dgm:prSet phldrT="[文本]" custT="1"/>
      <dgm:spPr/>
      <dgm:t>
        <a:bodyPr/>
        <a:lstStyle/>
        <a:p>
          <a:r>
            <a:rPr lang="en-US" altLang="zh-CN" sz="1800" dirty="0"/>
            <a:t>RAG</a:t>
          </a:r>
          <a:r>
            <a:rPr lang="zh-CN" altLang="en-US" sz="1800" dirty="0"/>
            <a:t>、</a:t>
          </a:r>
        </a:p>
      </dgm:t>
    </dgm:pt>
    <dgm:pt modelId="{06C37B8A-F864-406A-B1A4-57ECDA8739A0}" type="parTrans" cxnId="{7E366501-BB4C-4A91-AD79-89D077D868EB}">
      <dgm:prSet/>
      <dgm:spPr/>
      <dgm:t>
        <a:bodyPr/>
        <a:lstStyle/>
        <a:p>
          <a:endParaRPr lang="zh-CN" altLang="en-US"/>
        </a:p>
      </dgm:t>
    </dgm:pt>
    <dgm:pt modelId="{8BD3E2A5-4BDD-47D5-9E6B-838DCAE2032D}" type="sibTrans" cxnId="{7E366501-BB4C-4A91-AD79-89D077D868EB}">
      <dgm:prSet/>
      <dgm:spPr/>
      <dgm:t>
        <a:bodyPr/>
        <a:lstStyle/>
        <a:p>
          <a:endParaRPr lang="zh-CN" altLang="en-US"/>
        </a:p>
      </dgm:t>
    </dgm:pt>
    <dgm:pt modelId="{2CFE495B-34FF-46A9-973C-8CE60BA2AE7A}">
      <dgm:prSet phldrT="[文本]" custT="1"/>
      <dgm:spPr/>
      <dgm:t>
        <a:bodyPr/>
        <a:lstStyle/>
        <a:p>
          <a:r>
            <a:rPr lang="zh-CN" altLang="en-US" sz="1800" dirty="0"/>
            <a:t>个性化总结</a:t>
          </a:r>
        </a:p>
      </dgm:t>
    </dgm:pt>
    <dgm:pt modelId="{84EB9CC4-EB4A-4AE3-B2A3-B52EF1117DA1}" type="parTrans" cxnId="{F77BC614-19DB-4BB8-8747-29A3FD5AABC7}">
      <dgm:prSet/>
      <dgm:spPr/>
      <dgm:t>
        <a:bodyPr/>
        <a:lstStyle/>
        <a:p>
          <a:endParaRPr lang="zh-CN" altLang="en-US"/>
        </a:p>
      </dgm:t>
    </dgm:pt>
    <dgm:pt modelId="{1E782A5B-687E-4485-8A45-559C151E4658}" type="sibTrans" cxnId="{F77BC614-19DB-4BB8-8747-29A3FD5AABC7}">
      <dgm:prSet/>
      <dgm:spPr/>
      <dgm:t>
        <a:bodyPr/>
        <a:lstStyle/>
        <a:p>
          <a:endParaRPr lang="zh-CN" altLang="en-US"/>
        </a:p>
      </dgm:t>
    </dgm:pt>
    <dgm:pt modelId="{BDDCE160-2DD4-49C3-84B5-ECB57E86CF6C}" type="pres">
      <dgm:prSet presAssocID="{56519180-8FCF-43C3-9556-0FDCC16C3116}" presName="rootnode" presStyleCnt="0">
        <dgm:presLayoutVars>
          <dgm:chMax/>
          <dgm:chPref/>
          <dgm:dir/>
          <dgm:animLvl val="lvl"/>
        </dgm:presLayoutVars>
      </dgm:prSet>
      <dgm:spPr/>
    </dgm:pt>
    <dgm:pt modelId="{0FBCAF6B-2B8A-4208-83F2-A1C4FDA9CB68}" type="pres">
      <dgm:prSet presAssocID="{A6055BFF-43F1-4E52-B276-D3E54B52B1BB}" presName="composite" presStyleCnt="0"/>
      <dgm:spPr/>
    </dgm:pt>
    <dgm:pt modelId="{6F054E10-4168-4AA8-AE8E-007F49985D5F}" type="pres">
      <dgm:prSet presAssocID="{A6055BFF-43F1-4E52-B276-D3E54B52B1BB}" presName="bentUpArrow1" presStyleLbl="alignImgPlace1" presStyleIdx="0" presStyleCnt="2"/>
      <dgm:spPr/>
    </dgm:pt>
    <dgm:pt modelId="{A290BFDE-48B7-4C06-AE7C-6F0E66EC526A}" type="pres">
      <dgm:prSet presAssocID="{A6055BFF-43F1-4E52-B276-D3E54B52B1BB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78E45426-A190-43F1-9546-E98F43884C8F}" type="pres">
      <dgm:prSet presAssocID="{A6055BFF-43F1-4E52-B276-D3E54B52B1BB}" presName="ChildText" presStyleLbl="revTx" presStyleIdx="0" presStyleCnt="3" custScaleX="223168" custLinFactNeighborX="62716" custLinFactNeighborY="-3250">
        <dgm:presLayoutVars>
          <dgm:chMax val="0"/>
          <dgm:chPref val="0"/>
          <dgm:bulletEnabled val="1"/>
        </dgm:presLayoutVars>
      </dgm:prSet>
      <dgm:spPr/>
    </dgm:pt>
    <dgm:pt modelId="{C53F89E5-6948-4FA2-99A8-0EC69B45E9B0}" type="pres">
      <dgm:prSet presAssocID="{4756333F-3AC0-47C0-909F-2C42FDF4812C}" presName="sibTrans" presStyleCnt="0"/>
      <dgm:spPr/>
    </dgm:pt>
    <dgm:pt modelId="{10686AB9-AA54-48C0-8B68-508B47627422}" type="pres">
      <dgm:prSet presAssocID="{9169A67C-BA4C-4AD6-AA04-AEFB4653AA3E}" presName="composite" presStyleCnt="0"/>
      <dgm:spPr/>
    </dgm:pt>
    <dgm:pt modelId="{C1E857D2-A6F8-428B-9CD5-8C8A5A311AEE}" type="pres">
      <dgm:prSet presAssocID="{9169A67C-BA4C-4AD6-AA04-AEFB4653AA3E}" presName="bentUpArrow1" presStyleLbl="alignImgPlace1" presStyleIdx="1" presStyleCnt="2" custLinFactNeighborX="-33331" custLinFactNeighborY="4618"/>
      <dgm:spPr/>
    </dgm:pt>
    <dgm:pt modelId="{9C1A7F94-DA86-4398-B3D8-AE746B8FA7EF}" type="pres">
      <dgm:prSet presAssocID="{9169A67C-BA4C-4AD6-AA04-AEFB4653AA3E}" presName="ParentText" presStyleLbl="node1" presStyleIdx="1" presStyleCnt="3" custLinFactNeighborX="-41366">
        <dgm:presLayoutVars>
          <dgm:chMax val="1"/>
          <dgm:chPref val="1"/>
          <dgm:bulletEnabled val="1"/>
        </dgm:presLayoutVars>
      </dgm:prSet>
      <dgm:spPr/>
    </dgm:pt>
    <dgm:pt modelId="{4408ABA3-AF42-49EB-9FF9-98FE2C0E353C}" type="pres">
      <dgm:prSet presAssocID="{9169A67C-BA4C-4AD6-AA04-AEFB4653AA3E}" presName="ChildText" presStyleLbl="revTx" presStyleIdx="1" presStyleCnt="3" custScaleX="440051" custLinFactX="18413" custLinFactNeighborX="100000" custLinFactNeighborY="63">
        <dgm:presLayoutVars>
          <dgm:chMax val="0"/>
          <dgm:chPref val="0"/>
          <dgm:bulletEnabled val="1"/>
        </dgm:presLayoutVars>
      </dgm:prSet>
      <dgm:spPr/>
    </dgm:pt>
    <dgm:pt modelId="{12DCCF75-63AF-4BA5-95B2-EBF5716BEDC5}" type="pres">
      <dgm:prSet presAssocID="{14338416-E2E1-4611-8FD3-AADB31BAD38C}" presName="sibTrans" presStyleCnt="0"/>
      <dgm:spPr/>
    </dgm:pt>
    <dgm:pt modelId="{53FA07B5-2164-40A3-8976-283BE6B36B98}" type="pres">
      <dgm:prSet presAssocID="{C9FDE43E-B2E0-4656-82D5-4CC257811FAB}" presName="composite" presStyleCnt="0"/>
      <dgm:spPr/>
    </dgm:pt>
    <dgm:pt modelId="{A5E1E8CB-5F80-4C23-BFBF-EB28AF71B416}" type="pres">
      <dgm:prSet presAssocID="{C9FDE43E-B2E0-4656-82D5-4CC257811FAB}" presName="ParentText" presStyleLbl="node1" presStyleIdx="2" presStyleCnt="3" custLinFactNeighborX="-17008" custLinFactNeighborY="-2352">
        <dgm:presLayoutVars>
          <dgm:chMax val="1"/>
          <dgm:chPref val="1"/>
          <dgm:bulletEnabled val="1"/>
        </dgm:presLayoutVars>
      </dgm:prSet>
      <dgm:spPr/>
    </dgm:pt>
    <dgm:pt modelId="{7EDE4D09-6E0F-478E-A5F6-1E1B70C869F2}" type="pres">
      <dgm:prSet presAssocID="{C9FDE43E-B2E0-4656-82D5-4CC257811FAB}" presName="FinalChildText" presStyleLbl="revTx" presStyleIdx="2" presStyleCnt="3" custFlipHor="1" custScaleX="284824" custLinFactNeighborX="73305" custLinFactNeighborY="1755">
        <dgm:presLayoutVars>
          <dgm:chMax val="0"/>
          <dgm:chPref val="0"/>
          <dgm:bulletEnabled val="1"/>
        </dgm:presLayoutVars>
      </dgm:prSet>
      <dgm:spPr/>
    </dgm:pt>
  </dgm:ptLst>
  <dgm:cxnLst>
    <dgm:cxn modelId="{7E366501-BB4C-4A91-AD79-89D077D868EB}" srcId="{C9FDE43E-B2E0-4656-82D5-4CC257811FAB}" destId="{4EC076D1-FFEC-453A-9F91-2566C454587D}" srcOrd="1" destOrd="0" parTransId="{06C37B8A-F864-406A-B1A4-57ECDA8739A0}" sibTransId="{8BD3E2A5-4BDD-47D5-9E6B-838DCAE2032D}"/>
    <dgm:cxn modelId="{7ADC5F02-3F67-4702-A344-77629BCA5D4A}" type="presOf" srcId="{A6055BFF-43F1-4E52-B276-D3E54B52B1BB}" destId="{A290BFDE-48B7-4C06-AE7C-6F0E66EC526A}" srcOrd="0" destOrd="0" presId="urn:microsoft.com/office/officeart/2005/8/layout/StepDownProcess"/>
    <dgm:cxn modelId="{50327007-3964-4EFE-9A0B-61AA5C1AAF1E}" type="presOf" srcId="{C9FDE43E-B2E0-4656-82D5-4CC257811FAB}" destId="{A5E1E8CB-5F80-4C23-BFBF-EB28AF71B416}" srcOrd="0" destOrd="0" presId="urn:microsoft.com/office/officeart/2005/8/layout/StepDownProcess"/>
    <dgm:cxn modelId="{F77BC614-19DB-4BB8-8747-29A3FD5AABC7}" srcId="{C9FDE43E-B2E0-4656-82D5-4CC257811FAB}" destId="{2CFE495B-34FF-46A9-973C-8CE60BA2AE7A}" srcOrd="2" destOrd="0" parTransId="{84EB9CC4-EB4A-4AE3-B2A3-B52EF1117DA1}" sibTransId="{1E782A5B-687E-4485-8A45-559C151E4658}"/>
    <dgm:cxn modelId="{70BD2B16-9ED2-45E7-9764-7BF2FFDEAD53}" srcId="{56519180-8FCF-43C3-9556-0FDCC16C3116}" destId="{C9FDE43E-B2E0-4656-82D5-4CC257811FAB}" srcOrd="2" destOrd="0" parTransId="{D70A221B-8760-4177-9FB9-C144A82E3549}" sibTransId="{34E973C3-3018-424A-AD90-E3BCF75CDB3F}"/>
    <dgm:cxn modelId="{C907E227-61CD-4AC3-A331-4F2EFD5A410C}" srcId="{56519180-8FCF-43C3-9556-0FDCC16C3116}" destId="{9169A67C-BA4C-4AD6-AA04-AEFB4653AA3E}" srcOrd="1" destOrd="0" parTransId="{11CD0D86-CE92-4C5F-87DB-6C8651E4B5CF}" sibTransId="{14338416-E2E1-4611-8FD3-AADB31BAD38C}"/>
    <dgm:cxn modelId="{200DFF70-0170-43C5-9954-A688263F00F5}" srcId="{C9FDE43E-B2E0-4656-82D5-4CC257811FAB}" destId="{F4131AA2-1267-4DA4-B6FB-6B052B5A0BFE}" srcOrd="0" destOrd="0" parTransId="{E3ED6C49-192C-446F-BA57-170E5CF165EE}" sibTransId="{F8E0C759-5313-451C-AC5F-1A9924AE9DD2}"/>
    <dgm:cxn modelId="{56E5C179-B75B-4184-9A41-F42119F6DCAA}" type="presOf" srcId="{4EC076D1-FFEC-453A-9F91-2566C454587D}" destId="{7EDE4D09-6E0F-478E-A5F6-1E1B70C869F2}" srcOrd="0" destOrd="1" presId="urn:microsoft.com/office/officeart/2005/8/layout/StepDownProcess"/>
    <dgm:cxn modelId="{05B65584-E104-47B7-9134-1BC6FD9FC62F}" type="presOf" srcId="{56519180-8FCF-43C3-9556-0FDCC16C3116}" destId="{BDDCE160-2DD4-49C3-84B5-ECB57E86CF6C}" srcOrd="0" destOrd="0" presId="urn:microsoft.com/office/officeart/2005/8/layout/StepDownProcess"/>
    <dgm:cxn modelId="{EDCA6D8A-C955-449A-B48A-CFA135E9C932}" type="presOf" srcId="{F4131AA2-1267-4DA4-B6FB-6B052B5A0BFE}" destId="{7EDE4D09-6E0F-478E-A5F6-1E1B70C869F2}" srcOrd="0" destOrd="0" presId="urn:microsoft.com/office/officeart/2005/8/layout/StepDownProcess"/>
    <dgm:cxn modelId="{BF3C8FA0-168D-4B13-A73D-83AC8C149147}" srcId="{A6055BFF-43F1-4E52-B276-D3E54B52B1BB}" destId="{32F1525C-F4BD-46CC-996C-31C872EB3961}" srcOrd="0" destOrd="0" parTransId="{B50C7FA6-44CA-4E39-9F18-C697F44DD7E8}" sibTransId="{A779409E-FE91-4F25-8E4A-F9580C41E67F}"/>
    <dgm:cxn modelId="{037863C2-B404-4A79-AE27-FED200BF1B76}" type="presOf" srcId="{0384E0CB-B4D1-4599-B77A-7AA98396D535}" destId="{4408ABA3-AF42-49EB-9FF9-98FE2C0E353C}" srcOrd="0" destOrd="0" presId="urn:microsoft.com/office/officeart/2005/8/layout/StepDownProcess"/>
    <dgm:cxn modelId="{792767C9-6101-4C08-B0BE-C887446BF20C}" srcId="{56519180-8FCF-43C3-9556-0FDCC16C3116}" destId="{A6055BFF-43F1-4E52-B276-D3E54B52B1BB}" srcOrd="0" destOrd="0" parTransId="{3DBCAB6A-A91F-40EB-87CA-DE8CFDB19734}" sibTransId="{4756333F-3AC0-47C0-909F-2C42FDF4812C}"/>
    <dgm:cxn modelId="{2A3F52CF-A804-4A66-904B-35A8B7598426}" srcId="{9169A67C-BA4C-4AD6-AA04-AEFB4653AA3E}" destId="{0384E0CB-B4D1-4599-B77A-7AA98396D535}" srcOrd="0" destOrd="0" parTransId="{3B7C4E72-2F54-4396-A658-0AC6B7172A19}" sibTransId="{D2D0CC4D-6BD6-45F2-972D-F5E10A427042}"/>
    <dgm:cxn modelId="{DC7395D2-A5BE-4DC3-95FA-23CBC402B352}" type="presOf" srcId="{9169A67C-BA4C-4AD6-AA04-AEFB4653AA3E}" destId="{9C1A7F94-DA86-4398-B3D8-AE746B8FA7EF}" srcOrd="0" destOrd="0" presId="urn:microsoft.com/office/officeart/2005/8/layout/StepDownProcess"/>
    <dgm:cxn modelId="{009396E6-1C34-4CAF-8926-C0186AA05D9D}" type="presOf" srcId="{32F1525C-F4BD-46CC-996C-31C872EB3961}" destId="{78E45426-A190-43F1-9546-E98F43884C8F}" srcOrd="0" destOrd="0" presId="urn:microsoft.com/office/officeart/2005/8/layout/StepDownProcess"/>
    <dgm:cxn modelId="{66BCA4FD-224C-45D9-B9C1-C32839D50648}" type="presOf" srcId="{2CFE495B-34FF-46A9-973C-8CE60BA2AE7A}" destId="{7EDE4D09-6E0F-478E-A5F6-1E1B70C869F2}" srcOrd="0" destOrd="2" presId="urn:microsoft.com/office/officeart/2005/8/layout/StepDownProcess"/>
    <dgm:cxn modelId="{B052F0F2-3C66-41C7-B129-AF798EB7441C}" type="presParOf" srcId="{BDDCE160-2DD4-49C3-84B5-ECB57E86CF6C}" destId="{0FBCAF6B-2B8A-4208-83F2-A1C4FDA9CB68}" srcOrd="0" destOrd="0" presId="urn:microsoft.com/office/officeart/2005/8/layout/StepDownProcess"/>
    <dgm:cxn modelId="{8A9753F7-DFB4-4BAB-8FF4-E10D3229FA5E}" type="presParOf" srcId="{0FBCAF6B-2B8A-4208-83F2-A1C4FDA9CB68}" destId="{6F054E10-4168-4AA8-AE8E-007F49985D5F}" srcOrd="0" destOrd="0" presId="urn:microsoft.com/office/officeart/2005/8/layout/StepDownProcess"/>
    <dgm:cxn modelId="{8B0A375C-9F00-44F2-BDD6-8408FEB58FD1}" type="presParOf" srcId="{0FBCAF6B-2B8A-4208-83F2-A1C4FDA9CB68}" destId="{A290BFDE-48B7-4C06-AE7C-6F0E66EC526A}" srcOrd="1" destOrd="0" presId="urn:microsoft.com/office/officeart/2005/8/layout/StepDownProcess"/>
    <dgm:cxn modelId="{37485F6B-CF75-4888-9224-C86A2A21C3AF}" type="presParOf" srcId="{0FBCAF6B-2B8A-4208-83F2-A1C4FDA9CB68}" destId="{78E45426-A190-43F1-9546-E98F43884C8F}" srcOrd="2" destOrd="0" presId="urn:microsoft.com/office/officeart/2005/8/layout/StepDownProcess"/>
    <dgm:cxn modelId="{67B5E5FC-A47B-488F-8AC0-4641F4347705}" type="presParOf" srcId="{BDDCE160-2DD4-49C3-84B5-ECB57E86CF6C}" destId="{C53F89E5-6948-4FA2-99A8-0EC69B45E9B0}" srcOrd="1" destOrd="0" presId="urn:microsoft.com/office/officeart/2005/8/layout/StepDownProcess"/>
    <dgm:cxn modelId="{1C435A5A-4720-439A-B2B0-2B00ECABCF11}" type="presParOf" srcId="{BDDCE160-2DD4-49C3-84B5-ECB57E86CF6C}" destId="{10686AB9-AA54-48C0-8B68-508B47627422}" srcOrd="2" destOrd="0" presId="urn:microsoft.com/office/officeart/2005/8/layout/StepDownProcess"/>
    <dgm:cxn modelId="{C7933062-69F0-4959-B86B-26C3AEBBB5DC}" type="presParOf" srcId="{10686AB9-AA54-48C0-8B68-508B47627422}" destId="{C1E857D2-A6F8-428B-9CD5-8C8A5A311AEE}" srcOrd="0" destOrd="0" presId="urn:microsoft.com/office/officeart/2005/8/layout/StepDownProcess"/>
    <dgm:cxn modelId="{0011E485-6141-4022-BAF0-5A93BFEAE2F6}" type="presParOf" srcId="{10686AB9-AA54-48C0-8B68-508B47627422}" destId="{9C1A7F94-DA86-4398-B3D8-AE746B8FA7EF}" srcOrd="1" destOrd="0" presId="urn:microsoft.com/office/officeart/2005/8/layout/StepDownProcess"/>
    <dgm:cxn modelId="{F87119DA-43A6-47A6-AED6-33DBCC19A33E}" type="presParOf" srcId="{10686AB9-AA54-48C0-8B68-508B47627422}" destId="{4408ABA3-AF42-49EB-9FF9-98FE2C0E353C}" srcOrd="2" destOrd="0" presId="urn:microsoft.com/office/officeart/2005/8/layout/StepDownProcess"/>
    <dgm:cxn modelId="{DAECBE9C-B71C-4B41-99FD-CA6C1B451C92}" type="presParOf" srcId="{BDDCE160-2DD4-49C3-84B5-ECB57E86CF6C}" destId="{12DCCF75-63AF-4BA5-95B2-EBF5716BEDC5}" srcOrd="3" destOrd="0" presId="urn:microsoft.com/office/officeart/2005/8/layout/StepDownProcess"/>
    <dgm:cxn modelId="{21592304-90A6-43A1-A84B-FE5512E4AEA9}" type="presParOf" srcId="{BDDCE160-2DD4-49C3-84B5-ECB57E86CF6C}" destId="{53FA07B5-2164-40A3-8976-283BE6B36B98}" srcOrd="4" destOrd="0" presId="urn:microsoft.com/office/officeart/2005/8/layout/StepDownProcess"/>
    <dgm:cxn modelId="{9FF721DA-D672-41AE-AF0D-7E64E5D68C21}" type="presParOf" srcId="{53FA07B5-2164-40A3-8976-283BE6B36B98}" destId="{A5E1E8CB-5F80-4C23-BFBF-EB28AF71B416}" srcOrd="0" destOrd="0" presId="urn:microsoft.com/office/officeart/2005/8/layout/StepDownProcess"/>
    <dgm:cxn modelId="{70984B71-9620-4D5A-84F4-B739675796EF}" type="presParOf" srcId="{53FA07B5-2164-40A3-8976-283BE6B36B98}" destId="{7EDE4D09-6E0F-478E-A5F6-1E1B70C869F2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ADC810-9F3A-4AE8-91B4-53F1B131F263}">
      <dsp:nvSpPr>
        <dsp:cNvPr id="0" name=""/>
        <dsp:cNvSpPr/>
      </dsp:nvSpPr>
      <dsp:spPr>
        <a:xfrm>
          <a:off x="2906" y="1133670"/>
          <a:ext cx="2833533" cy="11334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4480" tIns="162560" rIns="284480" bIns="16256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4000" kern="1200" dirty="0"/>
            <a:t>背景</a:t>
          </a:r>
        </a:p>
      </dsp:txBody>
      <dsp:txXfrm>
        <a:off x="2906" y="1133670"/>
        <a:ext cx="2833533" cy="1133413"/>
      </dsp:txXfrm>
    </dsp:sp>
    <dsp:sp modelId="{A3C987DE-1995-4334-B6E0-B9BC878D15D5}">
      <dsp:nvSpPr>
        <dsp:cNvPr id="0" name=""/>
        <dsp:cNvSpPr/>
      </dsp:nvSpPr>
      <dsp:spPr>
        <a:xfrm>
          <a:off x="2906" y="2267084"/>
          <a:ext cx="2833533" cy="175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2500" kern="1200" dirty="0"/>
            <a:t> </a:t>
          </a:r>
          <a:r>
            <a:rPr lang="zh-CN" altLang="en-US" sz="2000" kern="1200" dirty="0">
              <a:latin typeface="+mj-ea"/>
              <a:ea typeface="+mj-ea"/>
            </a:rPr>
            <a:t>暑假教研实习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2000" kern="1200" dirty="0">
              <a:latin typeface="+mj-ea"/>
              <a:ea typeface="+mj-ea"/>
            </a:rPr>
            <a:t>大学生学习需求</a:t>
          </a:r>
        </a:p>
      </dsp:txBody>
      <dsp:txXfrm>
        <a:off x="2906" y="2267084"/>
        <a:ext cx="2833533" cy="1756800"/>
      </dsp:txXfrm>
    </dsp:sp>
    <dsp:sp modelId="{974DB2B7-A454-47AF-86F7-457EAB0A3AF4}">
      <dsp:nvSpPr>
        <dsp:cNvPr id="0" name=""/>
        <dsp:cNvSpPr/>
      </dsp:nvSpPr>
      <dsp:spPr>
        <a:xfrm>
          <a:off x="3233133" y="1133670"/>
          <a:ext cx="2833533" cy="11334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4480" tIns="162560" rIns="284480" bIns="16256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4000" kern="1200" dirty="0"/>
            <a:t>目标</a:t>
          </a:r>
        </a:p>
      </dsp:txBody>
      <dsp:txXfrm>
        <a:off x="3233133" y="1133670"/>
        <a:ext cx="2833533" cy="1133413"/>
      </dsp:txXfrm>
    </dsp:sp>
    <dsp:sp modelId="{69077460-1567-4614-B8E9-3CACEE10DBE7}">
      <dsp:nvSpPr>
        <dsp:cNvPr id="0" name=""/>
        <dsp:cNvSpPr/>
      </dsp:nvSpPr>
      <dsp:spPr>
        <a:xfrm>
          <a:off x="3233133" y="2267084"/>
          <a:ext cx="2833533" cy="175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2500" kern="1200" dirty="0"/>
            <a:t> </a:t>
          </a:r>
          <a:r>
            <a:rPr lang="zh-CN" altLang="en-US" sz="2000" kern="1200" dirty="0">
              <a:latin typeface="+mj-ea"/>
              <a:ea typeface="+mj-ea"/>
            </a:rPr>
            <a:t>快速生成 </a:t>
          </a:r>
          <a:r>
            <a:rPr lang="en-US" altLang="zh-CN" sz="2000" kern="1200" dirty="0">
              <a:latin typeface="+mj-ea"/>
              <a:ea typeface="+mj-ea"/>
            </a:rPr>
            <a:t>PDF </a:t>
          </a:r>
          <a:r>
            <a:rPr lang="zh-CN" altLang="en-US" sz="2000" kern="1200" dirty="0">
              <a:latin typeface="+mj-ea"/>
              <a:ea typeface="+mj-ea"/>
            </a:rPr>
            <a:t>考点总结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2000" kern="1200" dirty="0">
              <a:latin typeface="+mj-ea"/>
              <a:ea typeface="+mj-ea"/>
            </a:rPr>
            <a:t>操作 ≤ </a:t>
          </a:r>
          <a:r>
            <a:rPr lang="en-US" altLang="zh-CN" sz="2000" kern="1200" dirty="0">
              <a:latin typeface="+mj-ea"/>
              <a:ea typeface="+mj-ea"/>
            </a:rPr>
            <a:t>3 </a:t>
          </a:r>
          <a:r>
            <a:rPr lang="zh-CN" altLang="en-US" sz="2000" kern="1200" dirty="0">
              <a:latin typeface="+mj-ea"/>
              <a:ea typeface="+mj-ea"/>
            </a:rPr>
            <a:t>步</a:t>
          </a:r>
        </a:p>
      </dsp:txBody>
      <dsp:txXfrm>
        <a:off x="3233133" y="2267084"/>
        <a:ext cx="2833533" cy="1756800"/>
      </dsp:txXfrm>
    </dsp:sp>
    <dsp:sp modelId="{93299FBF-D5E5-47BB-90B5-7F1A924A82A9}">
      <dsp:nvSpPr>
        <dsp:cNvPr id="0" name=""/>
        <dsp:cNvSpPr/>
      </dsp:nvSpPr>
      <dsp:spPr>
        <a:xfrm>
          <a:off x="6463361" y="1133670"/>
          <a:ext cx="2833533" cy="113341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4480" tIns="162560" rIns="284480" bIns="16256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4000" kern="1200" dirty="0"/>
            <a:t>用户</a:t>
          </a:r>
        </a:p>
      </dsp:txBody>
      <dsp:txXfrm>
        <a:off x="6463361" y="1133670"/>
        <a:ext cx="2833533" cy="1133413"/>
      </dsp:txXfrm>
    </dsp:sp>
    <dsp:sp modelId="{4DAA1817-FA25-4D38-A211-221EB6AE50AB}">
      <dsp:nvSpPr>
        <dsp:cNvPr id="0" name=""/>
        <dsp:cNvSpPr/>
      </dsp:nvSpPr>
      <dsp:spPr>
        <a:xfrm>
          <a:off x="6463361" y="2267084"/>
          <a:ext cx="2833533" cy="175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2000" kern="1200" dirty="0">
              <a:latin typeface="+mj-ea"/>
              <a:ea typeface="+mj-ea"/>
            </a:rPr>
            <a:t> </a:t>
          </a:r>
          <a:r>
            <a:rPr lang="zh-CN" altLang="en-US" sz="2000" kern="1200" dirty="0">
              <a:latin typeface="+mj-ea"/>
              <a:ea typeface="+mj-ea"/>
            </a:rPr>
            <a:t>学生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2000" kern="1200" dirty="0">
              <a:latin typeface="+mj-ea"/>
              <a:ea typeface="+mj-ea"/>
            </a:rPr>
            <a:t>考研生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2000" kern="1200" dirty="0">
              <a:latin typeface="+mj-ea"/>
              <a:ea typeface="+mj-ea"/>
            </a:rPr>
            <a:t>教师</a:t>
          </a:r>
          <a:r>
            <a:rPr lang="en-US" altLang="zh-CN" sz="2000" kern="1200" dirty="0">
              <a:latin typeface="+mj-ea"/>
              <a:ea typeface="+mj-ea"/>
            </a:rPr>
            <a:t>/</a:t>
          </a:r>
          <a:r>
            <a:rPr lang="zh-CN" altLang="en-US" sz="2000" kern="1200" dirty="0">
              <a:latin typeface="+mj-ea"/>
              <a:ea typeface="+mj-ea"/>
            </a:rPr>
            <a:t>助教</a:t>
          </a:r>
        </a:p>
      </dsp:txBody>
      <dsp:txXfrm>
        <a:off x="6463361" y="2267084"/>
        <a:ext cx="2833533" cy="17568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32B702-4E3E-4E05-BD4C-9EB4D2F7C68C}">
      <dsp:nvSpPr>
        <dsp:cNvPr id="0" name=""/>
        <dsp:cNvSpPr/>
      </dsp:nvSpPr>
      <dsp:spPr>
        <a:xfrm>
          <a:off x="3571" y="224082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文件上传</a:t>
          </a:r>
        </a:p>
      </dsp:txBody>
      <dsp:txXfrm>
        <a:off x="31015" y="2268266"/>
        <a:ext cx="1506815" cy="882133"/>
      </dsp:txXfrm>
    </dsp:sp>
    <dsp:sp modelId="{30C46F76-4BFD-482C-92B7-2DE482133FB7}">
      <dsp:nvSpPr>
        <dsp:cNvPr id="0" name=""/>
        <dsp:cNvSpPr/>
      </dsp:nvSpPr>
      <dsp:spPr>
        <a:xfrm>
          <a:off x="1721445" y="2515682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/>
        </a:p>
      </dsp:txBody>
      <dsp:txXfrm>
        <a:off x="1721445" y="2593142"/>
        <a:ext cx="231757" cy="232382"/>
      </dsp:txXfrm>
    </dsp:sp>
    <dsp:sp modelId="{CDC43798-BAFD-43A7-91C6-A76C22F4ED94}">
      <dsp:nvSpPr>
        <dsp:cNvPr id="0" name=""/>
        <dsp:cNvSpPr/>
      </dsp:nvSpPr>
      <dsp:spPr>
        <a:xfrm>
          <a:off x="2189956" y="224082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文档解析</a:t>
          </a:r>
        </a:p>
      </dsp:txBody>
      <dsp:txXfrm>
        <a:off x="2217400" y="2268266"/>
        <a:ext cx="1506815" cy="882133"/>
      </dsp:txXfrm>
    </dsp:sp>
    <dsp:sp modelId="{8F3E2E4E-5291-40E4-B52F-A37E9300DAB4}">
      <dsp:nvSpPr>
        <dsp:cNvPr id="0" name=""/>
        <dsp:cNvSpPr/>
      </dsp:nvSpPr>
      <dsp:spPr>
        <a:xfrm>
          <a:off x="3907829" y="2515682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/>
        </a:p>
      </dsp:txBody>
      <dsp:txXfrm>
        <a:off x="3907829" y="2593142"/>
        <a:ext cx="231757" cy="232382"/>
      </dsp:txXfrm>
    </dsp:sp>
    <dsp:sp modelId="{15A7F6D8-C51F-4943-84EB-803ADB2295B6}">
      <dsp:nvSpPr>
        <dsp:cNvPr id="0" name=""/>
        <dsp:cNvSpPr/>
      </dsp:nvSpPr>
      <dsp:spPr>
        <a:xfrm>
          <a:off x="4376340" y="224082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模型生成</a:t>
          </a:r>
        </a:p>
      </dsp:txBody>
      <dsp:txXfrm>
        <a:off x="4403784" y="2268266"/>
        <a:ext cx="1506815" cy="882133"/>
      </dsp:txXfrm>
    </dsp:sp>
    <dsp:sp modelId="{BACE23C8-2755-4891-8DA1-E67C7BF8BBAC}">
      <dsp:nvSpPr>
        <dsp:cNvPr id="0" name=""/>
        <dsp:cNvSpPr/>
      </dsp:nvSpPr>
      <dsp:spPr>
        <a:xfrm>
          <a:off x="6094214" y="2515682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1700" kern="1200"/>
        </a:p>
      </dsp:txBody>
      <dsp:txXfrm>
        <a:off x="6094214" y="2593142"/>
        <a:ext cx="231757" cy="232382"/>
      </dsp:txXfrm>
    </dsp:sp>
    <dsp:sp modelId="{806648C0-0A80-487D-B830-C4E582D6A19D}">
      <dsp:nvSpPr>
        <dsp:cNvPr id="0" name=""/>
        <dsp:cNvSpPr/>
      </dsp:nvSpPr>
      <dsp:spPr>
        <a:xfrm>
          <a:off x="6562724" y="224082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500" kern="1200" dirty="0"/>
            <a:t>结果展示</a:t>
          </a:r>
        </a:p>
      </dsp:txBody>
      <dsp:txXfrm>
        <a:off x="6590168" y="2268266"/>
        <a:ext cx="1506815" cy="8821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448E58-F5CE-45A3-A175-55D22233ACDF}">
      <dsp:nvSpPr>
        <dsp:cNvPr id="0" name=""/>
        <dsp:cNvSpPr/>
      </dsp:nvSpPr>
      <dsp:spPr>
        <a:xfrm>
          <a:off x="161131" y="1463165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100" kern="1200" dirty="0"/>
            <a:t>用户上传 </a:t>
          </a:r>
          <a:r>
            <a:rPr lang="en-US" sz="2100" kern="1200" dirty="0"/>
            <a:t>PDF</a:t>
          </a:r>
          <a:endParaRPr lang="zh-CN" altLang="en-US" sz="2100" kern="1200" dirty="0"/>
        </a:p>
      </dsp:txBody>
      <dsp:txXfrm>
        <a:off x="161131" y="1463165"/>
        <a:ext cx="3771900" cy="1178718"/>
      </dsp:txXfrm>
    </dsp:sp>
    <dsp:sp modelId="{E48E7C1C-835C-4873-989A-9164AEC966CC}">
      <dsp:nvSpPr>
        <dsp:cNvPr id="0" name=""/>
        <dsp:cNvSpPr/>
      </dsp:nvSpPr>
      <dsp:spPr>
        <a:xfrm>
          <a:off x="3968" y="1292906"/>
          <a:ext cx="825103" cy="1237654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4E6A95-BDAF-4147-9777-A4C3274CEFAF}">
      <dsp:nvSpPr>
        <dsp:cNvPr id="0" name=""/>
        <dsp:cNvSpPr/>
      </dsp:nvSpPr>
      <dsp:spPr>
        <a:xfrm>
          <a:off x="4352131" y="1463165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100" kern="1200" dirty="0"/>
            <a:t>总结生成</a:t>
          </a:r>
          <a:endParaRPr lang="en-US" altLang="zh-CN" sz="2100" kern="1200" dirty="0"/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100" kern="1200" dirty="0"/>
            <a:t>（通义千问 </a:t>
          </a:r>
          <a:r>
            <a:rPr lang="en-US" altLang="zh-CN" sz="2100" kern="1200" dirty="0"/>
            <a:t>API</a:t>
          </a:r>
          <a:r>
            <a:rPr lang="zh-CN" altLang="en-US" sz="2100" kern="1200" dirty="0"/>
            <a:t>）</a:t>
          </a:r>
        </a:p>
      </dsp:txBody>
      <dsp:txXfrm>
        <a:off x="4352131" y="1463165"/>
        <a:ext cx="3771900" cy="1178718"/>
      </dsp:txXfrm>
    </dsp:sp>
    <dsp:sp modelId="{AC5CE93D-7934-4261-8CC7-E52846926FBA}">
      <dsp:nvSpPr>
        <dsp:cNvPr id="0" name=""/>
        <dsp:cNvSpPr/>
      </dsp:nvSpPr>
      <dsp:spPr>
        <a:xfrm>
          <a:off x="4194968" y="1292906"/>
          <a:ext cx="825103" cy="1237654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5A9C9C-255B-4896-A7B4-40BF557FF066}">
      <dsp:nvSpPr>
        <dsp:cNvPr id="0" name=""/>
        <dsp:cNvSpPr/>
      </dsp:nvSpPr>
      <dsp:spPr>
        <a:xfrm>
          <a:off x="161131" y="2947041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100" kern="1200" dirty="0"/>
            <a:t>文档解析</a:t>
          </a:r>
          <a:endParaRPr lang="en-US" altLang="zh-CN" sz="2100" kern="1200" dirty="0"/>
        </a:p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100" kern="1200" dirty="0"/>
            <a:t>（</a:t>
          </a:r>
          <a:r>
            <a:rPr lang="en-US" sz="2100" kern="1200" dirty="0" err="1"/>
            <a:t>pdfplumber</a:t>
          </a:r>
          <a:r>
            <a:rPr lang="en-US" sz="2100" kern="1200" dirty="0"/>
            <a:t>）</a:t>
          </a:r>
        </a:p>
      </dsp:txBody>
      <dsp:txXfrm>
        <a:off x="161131" y="2947041"/>
        <a:ext cx="3771900" cy="1178718"/>
      </dsp:txXfrm>
    </dsp:sp>
    <dsp:sp modelId="{38DF0CCD-F562-4CB2-8D93-5A19A767B3F3}">
      <dsp:nvSpPr>
        <dsp:cNvPr id="0" name=""/>
        <dsp:cNvSpPr/>
      </dsp:nvSpPr>
      <dsp:spPr>
        <a:xfrm>
          <a:off x="3968" y="2776782"/>
          <a:ext cx="825103" cy="1237654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55513F-7313-4852-9C9F-4ED90B938FDA}">
      <dsp:nvSpPr>
        <dsp:cNvPr id="0" name=""/>
        <dsp:cNvSpPr/>
      </dsp:nvSpPr>
      <dsp:spPr>
        <a:xfrm>
          <a:off x="4352131" y="2947041"/>
          <a:ext cx="3771900" cy="1178718"/>
        </a:xfrm>
        <a:prstGeom prst="rect">
          <a:avLst/>
        </a:prstGeom>
        <a:solidFill>
          <a:schemeClr val="accent1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8386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100" kern="1200" dirty="0"/>
            <a:t>结果展示（</a:t>
          </a:r>
          <a:r>
            <a:rPr lang="en-US" sz="2100" kern="1200" dirty="0" err="1"/>
            <a:t>Gradio</a:t>
          </a:r>
          <a:r>
            <a:rPr lang="en-US" sz="2100" kern="1200" dirty="0"/>
            <a:t>）</a:t>
          </a:r>
          <a:endParaRPr lang="zh-CN" altLang="en-US" sz="2100" kern="1200" dirty="0"/>
        </a:p>
      </dsp:txBody>
      <dsp:txXfrm>
        <a:off x="4352131" y="2947041"/>
        <a:ext cx="3771900" cy="1178718"/>
      </dsp:txXfrm>
    </dsp:sp>
    <dsp:sp modelId="{9D172A98-0B99-401B-9F19-561CB0D579AB}">
      <dsp:nvSpPr>
        <dsp:cNvPr id="0" name=""/>
        <dsp:cNvSpPr/>
      </dsp:nvSpPr>
      <dsp:spPr>
        <a:xfrm>
          <a:off x="4194968" y="2776782"/>
          <a:ext cx="825103" cy="1237654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054E10-4168-4AA8-AE8E-007F49985D5F}">
      <dsp:nvSpPr>
        <dsp:cNvPr id="0" name=""/>
        <dsp:cNvSpPr/>
      </dsp:nvSpPr>
      <dsp:spPr>
        <a:xfrm rot="5400000">
          <a:off x="1808603" y="1136737"/>
          <a:ext cx="1005346" cy="114455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90BFDE-48B7-4C06-AE7C-6F0E66EC526A}">
      <dsp:nvSpPr>
        <dsp:cNvPr id="0" name=""/>
        <dsp:cNvSpPr/>
      </dsp:nvSpPr>
      <dsp:spPr>
        <a:xfrm>
          <a:off x="1542247" y="22290"/>
          <a:ext cx="1692411" cy="1184632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800" kern="1200" dirty="0"/>
            <a:t>短期</a:t>
          </a:r>
        </a:p>
      </dsp:txBody>
      <dsp:txXfrm>
        <a:off x="1600086" y="80129"/>
        <a:ext cx="1576733" cy="1068954"/>
      </dsp:txXfrm>
    </dsp:sp>
    <dsp:sp modelId="{78E45426-A190-43F1-9546-E98F43884C8F}">
      <dsp:nvSpPr>
        <dsp:cNvPr id="0" name=""/>
        <dsp:cNvSpPr/>
      </dsp:nvSpPr>
      <dsp:spPr>
        <a:xfrm>
          <a:off x="3248592" y="104154"/>
          <a:ext cx="2746971" cy="95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800" kern="1200" dirty="0"/>
            <a:t>容错提示、</a:t>
          </a:r>
          <a:r>
            <a:rPr lang="en-US" altLang="zh-CN" sz="1800" kern="1200" dirty="0"/>
            <a:t>UI</a:t>
          </a:r>
          <a:r>
            <a:rPr lang="zh-CN" altLang="en-US" sz="1800" kern="1200" dirty="0"/>
            <a:t> 优化</a:t>
          </a:r>
        </a:p>
      </dsp:txBody>
      <dsp:txXfrm>
        <a:off x="3248592" y="104154"/>
        <a:ext cx="2746971" cy="957472"/>
      </dsp:txXfrm>
    </dsp:sp>
    <dsp:sp modelId="{C1E857D2-A6F8-428B-9CD5-8C8A5A311AEE}">
      <dsp:nvSpPr>
        <dsp:cNvPr id="0" name=""/>
        <dsp:cNvSpPr/>
      </dsp:nvSpPr>
      <dsp:spPr>
        <a:xfrm rot="5400000">
          <a:off x="3594589" y="2513897"/>
          <a:ext cx="1005346" cy="114455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1A7F94-DA86-4398-B3D8-AE746B8FA7EF}">
      <dsp:nvSpPr>
        <dsp:cNvPr id="0" name=""/>
        <dsp:cNvSpPr/>
      </dsp:nvSpPr>
      <dsp:spPr>
        <a:xfrm>
          <a:off x="3009641" y="1353024"/>
          <a:ext cx="1692411" cy="1184632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800" kern="1200" dirty="0"/>
            <a:t>中期</a:t>
          </a:r>
        </a:p>
      </dsp:txBody>
      <dsp:txXfrm>
        <a:off x="3067480" y="1410863"/>
        <a:ext cx="1576733" cy="1068954"/>
      </dsp:txXfrm>
    </dsp:sp>
    <dsp:sp modelId="{4408ABA3-AF42-49EB-9FF9-98FE2C0E353C}">
      <dsp:nvSpPr>
        <dsp:cNvPr id="0" name=""/>
        <dsp:cNvSpPr/>
      </dsp:nvSpPr>
      <dsp:spPr>
        <a:xfrm>
          <a:off x="4766837" y="1466609"/>
          <a:ext cx="5416581" cy="95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kern="1200" dirty="0"/>
            <a:t>OCR</a:t>
          </a:r>
          <a:r>
            <a:rPr lang="zh-CN" altLang="en-US" sz="1800" kern="1200" dirty="0"/>
            <a:t>、批量、多格式导出</a:t>
          </a:r>
        </a:p>
      </dsp:txBody>
      <dsp:txXfrm>
        <a:off x="4766837" y="1466609"/>
        <a:ext cx="5416581" cy="957472"/>
      </dsp:txXfrm>
    </dsp:sp>
    <dsp:sp modelId="{A5E1E8CB-5F80-4C23-BFBF-EB28AF71B416}">
      <dsp:nvSpPr>
        <dsp:cNvPr id="0" name=""/>
        <dsp:cNvSpPr/>
      </dsp:nvSpPr>
      <dsp:spPr>
        <a:xfrm>
          <a:off x="4788494" y="2655895"/>
          <a:ext cx="1692411" cy="1184632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800" kern="1200" dirty="0"/>
            <a:t>长期</a:t>
          </a:r>
        </a:p>
      </dsp:txBody>
      <dsp:txXfrm>
        <a:off x="4846333" y="2713734"/>
        <a:ext cx="1576733" cy="1068954"/>
      </dsp:txXfrm>
    </dsp:sp>
    <dsp:sp modelId="{7EDE4D09-6E0F-478E-A5F6-1E1B70C869F2}">
      <dsp:nvSpPr>
        <dsp:cNvPr id="0" name=""/>
        <dsp:cNvSpPr/>
      </dsp:nvSpPr>
      <dsp:spPr>
        <a:xfrm flipH="1">
          <a:off x="6533563" y="2813543"/>
          <a:ext cx="3505894" cy="9574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800" kern="1200" dirty="0"/>
            <a:t>交互式学习助手、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zh-CN" sz="1800" kern="1200" dirty="0"/>
            <a:t>RAG</a:t>
          </a:r>
          <a:r>
            <a:rPr lang="zh-CN" altLang="en-US" sz="1800" kern="1200" dirty="0"/>
            <a:t>、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CN" altLang="en-US" sz="1800" kern="1200" dirty="0"/>
            <a:t>个性化总结</a:t>
          </a:r>
        </a:p>
      </dsp:txBody>
      <dsp:txXfrm>
        <a:off x="6533563" y="2813543"/>
        <a:ext cx="3505894" cy="9574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5/8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5/8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形 5">
            <a:extLst>
              <a:ext uri="{FF2B5EF4-FFF2-40B4-BE49-F238E27FC236}">
                <a16:creationId xmlns:a16="http://schemas.microsoft.com/office/drawing/2014/main" id="{4BD5FF6C-C1A7-4694-B411-7F2D35FA2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41399" y="5633743"/>
            <a:ext cx="7175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3F82C4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041399" y="3086100"/>
            <a:ext cx="7175501" cy="223778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3F82C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331199" y="3086100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331199" y="3382371"/>
            <a:ext cx="2565401" cy="245363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F437F7F4-1FCE-41E3-AD73-422591351B80}"/>
              </a:ext>
            </a:extLst>
          </p:cNvPr>
          <p:cNvCxnSpPr>
            <a:cxnSpLocks/>
          </p:cNvCxnSpPr>
          <p:nvPr userDrawn="1"/>
        </p:nvCxnSpPr>
        <p:spPr>
          <a:xfrm>
            <a:off x="1041399" y="5511167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3520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353214" y="373308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B7D6BB0D-1595-4A59-AECB-39EA90A02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9" r="65582"/>
          <a:stretch/>
        </p:blipFill>
        <p:spPr>
          <a:xfrm flipH="1" flipV="1">
            <a:off x="8013701" y="0"/>
            <a:ext cx="4178299" cy="6858000"/>
          </a:xfrm>
          <a:prstGeom prst="rect">
            <a:avLst/>
          </a:prstGeom>
        </p:spPr>
      </p:pic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A8405070-878E-49F8-BBAE-9582FC3F7F0C}"/>
              </a:ext>
            </a:extLst>
          </p:cNvPr>
          <p:cNvCxnSpPr>
            <a:cxnSpLocks/>
          </p:cNvCxnSpPr>
          <p:nvPr userDrawn="1"/>
        </p:nvCxnSpPr>
        <p:spPr>
          <a:xfrm>
            <a:off x="2352098" y="3590746"/>
            <a:ext cx="7175501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5/8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5/8/2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形 4">
            <a:extLst>
              <a:ext uri="{FF2B5EF4-FFF2-40B4-BE49-F238E27FC236}">
                <a16:creationId xmlns:a16="http://schemas.microsoft.com/office/drawing/2014/main" id="{CDBEFD66-129D-4686-8E63-DBC5380EC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2" y="3001963"/>
            <a:ext cx="64261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2" y="5308199"/>
            <a:ext cx="64261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4" y="5011928"/>
            <a:ext cx="64261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4DE2D5B4-CE35-4F64-ACE1-F6BA22748CB6}"/>
              </a:ext>
            </a:extLst>
          </p:cNvPr>
          <p:cNvCxnSpPr>
            <a:cxnSpLocks/>
          </p:cNvCxnSpPr>
          <p:nvPr userDrawn="1"/>
        </p:nvCxnSpPr>
        <p:spPr>
          <a:xfrm>
            <a:off x="1346202" y="4850767"/>
            <a:ext cx="6426198" cy="0"/>
          </a:xfrm>
          <a:prstGeom prst="line">
            <a:avLst/>
          </a:prstGeom>
          <a:ln>
            <a:solidFill>
              <a:srgbClr val="D1E1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5/8/26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155698" y="5736864"/>
            <a:ext cx="7175501" cy="298198"/>
          </a:xfrm>
        </p:spPr>
        <p:txBody>
          <a:bodyPr>
            <a:normAutofit fontScale="90000"/>
          </a:bodyPr>
          <a:lstStyle/>
          <a:p>
            <a:pPr lvl="0">
              <a:defRPr/>
            </a:pPr>
            <a:r>
              <a:rPr lang="en-US" altLang="zh-CN" sz="4400" dirty="0"/>
              <a:t>AI </a:t>
            </a:r>
            <a:r>
              <a:rPr lang="zh-CN" altLang="en-US" sz="4400" dirty="0"/>
              <a:t>学习助手</a:t>
            </a:r>
            <a:r>
              <a:rPr lang="en-US" altLang="zh-CN" sz="4400" dirty="0"/>
              <a:t>v1.0</a:t>
            </a:r>
            <a:br>
              <a:rPr lang="en-US" altLang="zh-CN" sz="4400" dirty="0"/>
            </a:br>
            <a:br>
              <a:rPr lang="en-US" altLang="zh-CN" sz="4400" b="0" dirty="0">
                <a:solidFill>
                  <a:srgbClr val="3F82C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zh-CN" altLang="en-US" b="0" dirty="0">
                <a:solidFill>
                  <a:srgbClr val="D1E1EB"/>
                </a:solidFill>
              </a:rPr>
              <a:t>本地轻量级 </a:t>
            </a:r>
            <a:r>
              <a:rPr lang="en-US" altLang="zh-CN" b="0" dirty="0">
                <a:solidFill>
                  <a:srgbClr val="D1E1EB"/>
                </a:solidFill>
              </a:rPr>
              <a:t>PDF </a:t>
            </a:r>
            <a:r>
              <a:rPr lang="zh-CN" altLang="en-US" b="0" dirty="0">
                <a:solidFill>
                  <a:srgbClr val="D1E1EB"/>
                </a:solidFill>
              </a:rPr>
              <a:t>总结工具</a:t>
            </a:r>
            <a:br>
              <a:rPr lang="zh-CN" altLang="en-US" b="0" dirty="0">
                <a:solidFill>
                  <a:srgbClr val="D1E1EB"/>
                </a:solidFill>
              </a:rPr>
            </a:br>
            <a:endParaRPr lang="zh-CN" altLang="en-US" sz="4400" b="0" dirty="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BY </a:t>
            </a:r>
            <a:r>
              <a:rPr lang="zh-CN" altLang="en-US" dirty="0"/>
              <a:t>何瑞绮</a:t>
            </a:r>
            <a:endParaRPr lang="en-US" altLang="zh-CN" dirty="0"/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846183CF-78EB-0592-5709-852A6C16F0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2025.8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DAF7F6-DA80-2E53-2C71-B259EAAFF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演示流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8B153D9-DFC2-FEA1-EBD2-25171F745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B20DC891-6D62-F730-7482-7F7ED0029DBA}"/>
              </a:ext>
            </a:extLst>
          </p:cNvPr>
          <p:cNvSpPr txBox="1"/>
          <p:nvPr/>
        </p:nvSpPr>
        <p:spPr>
          <a:xfrm>
            <a:off x="669924" y="1422400"/>
            <a:ext cx="21852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1. </a:t>
            </a:r>
            <a:r>
              <a:rPr lang="zh-CN" altLang="en-US" dirty="0"/>
              <a:t>打开 </a:t>
            </a:r>
            <a:r>
              <a:rPr lang="en-US" altLang="zh-CN" dirty="0" err="1"/>
              <a:t>Gradio</a:t>
            </a:r>
            <a:r>
              <a:rPr lang="en-US" altLang="zh-CN" dirty="0"/>
              <a:t> </a:t>
            </a:r>
            <a:r>
              <a:rPr lang="zh-CN" altLang="en-US" dirty="0"/>
              <a:t>界面</a:t>
            </a:r>
          </a:p>
          <a:p>
            <a:endParaRPr lang="zh-CN" altLang="en-US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68A4779-C685-744B-ACB6-89127B8681D3}"/>
              </a:ext>
            </a:extLst>
          </p:cNvPr>
          <p:cNvPicPr>
            <a:picLocks/>
          </p:cNvPicPr>
          <p:nvPr/>
        </p:nvPicPr>
        <p:blipFill>
          <a:blip r:embed="rId2"/>
          <a:srcRect l="516" t="1056" r="1445" b="8534"/>
          <a:stretch>
            <a:fillRect/>
          </a:stretch>
        </p:blipFill>
        <p:spPr>
          <a:xfrm>
            <a:off x="2214282" y="1873624"/>
            <a:ext cx="8516471" cy="4213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223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0AB3C9-9D4B-47A9-E646-DAEF7F02E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演示流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67C888-E378-9DD4-7778-BA61A9AE2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D59C76C-DC34-8CCB-8F01-2E0192EC5268}"/>
              </a:ext>
            </a:extLst>
          </p:cNvPr>
          <p:cNvSpPr txBox="1"/>
          <p:nvPr/>
        </p:nvSpPr>
        <p:spPr>
          <a:xfrm>
            <a:off x="905435" y="1434353"/>
            <a:ext cx="1890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2.</a:t>
            </a:r>
            <a:r>
              <a:rPr lang="zh-CN" altLang="en-US" dirty="0"/>
              <a:t>上传 </a:t>
            </a:r>
            <a:r>
              <a:rPr lang="en-US" altLang="zh-CN" dirty="0"/>
              <a:t>PDF </a:t>
            </a:r>
            <a:r>
              <a:rPr lang="zh-CN" altLang="en-US" dirty="0"/>
              <a:t>文件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002285C-E6C2-98FE-EFD3-71F10B5BA1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828" y="1936376"/>
            <a:ext cx="8832753" cy="360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8000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7C6962-1DBF-00D0-F23E-4151BEEB43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2D6BB4-17A4-9207-74B2-DBC26074E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演示流程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62CBAF4-9D7C-602E-3FF8-E17AC8372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2E702B9-8700-1FD4-E840-64DD25F7F39B}"/>
              </a:ext>
            </a:extLst>
          </p:cNvPr>
          <p:cNvSpPr txBox="1"/>
          <p:nvPr/>
        </p:nvSpPr>
        <p:spPr>
          <a:xfrm>
            <a:off x="669924" y="1422400"/>
            <a:ext cx="17620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3.</a:t>
            </a:r>
            <a:r>
              <a:rPr lang="zh-CN" altLang="en-US" dirty="0"/>
              <a:t>点击生成总结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A8023B5-1FAF-9A0E-CDDE-C186627A20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5059" y="1916593"/>
            <a:ext cx="9421906" cy="3560838"/>
          </a:xfrm>
          <a:prstGeom prst="rect">
            <a:avLst/>
          </a:prstGeom>
        </p:spPr>
      </p:pic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91D7A7B5-992E-93CB-7E61-77B187902037}"/>
              </a:ext>
            </a:extLst>
          </p:cNvPr>
          <p:cNvCxnSpPr/>
          <p:nvPr/>
        </p:nvCxnSpPr>
        <p:spPr>
          <a:xfrm>
            <a:off x="7933765" y="1791732"/>
            <a:ext cx="134470" cy="6197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BB20EDB3-BFA5-A64A-379B-D8CDF9DDEECD}"/>
              </a:ext>
            </a:extLst>
          </p:cNvPr>
          <p:cNvSpPr txBox="1"/>
          <p:nvPr/>
        </p:nvSpPr>
        <p:spPr>
          <a:xfrm>
            <a:off x="7610180" y="1555807"/>
            <a:ext cx="10004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>
                <a:solidFill>
                  <a:schemeClr val="accent1"/>
                </a:solidFill>
              </a:rPr>
              <a:t>点击运行</a:t>
            </a:r>
          </a:p>
        </p:txBody>
      </p:sp>
    </p:spTree>
    <p:extLst>
      <p:ext uri="{BB962C8B-B14F-4D97-AF65-F5344CB8AC3E}">
        <p14:creationId xmlns:p14="http://schemas.microsoft.com/office/powerpoint/2010/main" val="1859352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B599266-2C9F-EFB0-D462-8D6133D7F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3D5A5EE6-C464-2C7D-95E2-87A3F983B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演示流程</a:t>
            </a:r>
          </a:p>
        </p:txBody>
      </p:sp>
      <p:pic>
        <p:nvPicPr>
          <p:cNvPr id="7" name="内容占位符 6">
            <a:extLst>
              <a:ext uri="{FF2B5EF4-FFF2-40B4-BE49-F238E27FC236}">
                <a16:creationId xmlns:a16="http://schemas.microsoft.com/office/drawing/2014/main" id="{A39334A0-B01A-FECD-65CF-28D2E5C266D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402435" y="2034988"/>
            <a:ext cx="9042288" cy="3929663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D411465C-5CF1-C8D9-5A01-5080BC2C7FD6}"/>
              </a:ext>
            </a:extLst>
          </p:cNvPr>
          <p:cNvSpPr txBox="1"/>
          <p:nvPr/>
        </p:nvSpPr>
        <p:spPr>
          <a:xfrm>
            <a:off x="669924" y="1347178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4. </a:t>
            </a:r>
            <a:r>
              <a:rPr lang="zh-CN" altLang="en-US" dirty="0"/>
              <a:t>展示生成结果</a:t>
            </a:r>
          </a:p>
        </p:txBody>
      </p:sp>
    </p:spTree>
    <p:extLst>
      <p:ext uri="{BB962C8B-B14F-4D97-AF65-F5344CB8AC3E}">
        <p14:creationId xmlns:p14="http://schemas.microsoft.com/office/powerpoint/2010/main" val="20843799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D5AC7-1B2E-04DD-B793-9D1973A227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4BC417BC-C3FB-A6E3-426E-442F5A6B7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规划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50BA1B0-6A5D-FCE1-580E-CC8E4626F29E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774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0910142-63FD-A771-66CE-5E0B0FCF4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5D156E2D-D6B9-BD3C-B019-2F2636D88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迭代规划</a:t>
            </a:r>
          </a:p>
        </p:txBody>
      </p:sp>
      <p:graphicFrame>
        <p:nvGraphicFramePr>
          <p:cNvPr id="6" name="内容占位符 5">
            <a:extLst>
              <a:ext uri="{FF2B5EF4-FFF2-40B4-BE49-F238E27FC236}">
                <a16:creationId xmlns:a16="http://schemas.microsoft.com/office/drawing/2014/main" id="{FDA3BF1A-70F8-3D34-988C-3C46269F8F9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540929974"/>
              </p:ext>
            </p:extLst>
          </p:nvPr>
        </p:nvGraphicFramePr>
        <p:xfrm>
          <a:off x="669923" y="1550894"/>
          <a:ext cx="10679395" cy="38906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35352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346202" y="3429000"/>
            <a:ext cx="6426198" cy="1621509"/>
          </a:xfrm>
        </p:spPr>
        <p:txBody>
          <a:bodyPr/>
          <a:lstStyle/>
          <a:p>
            <a:r>
              <a:rPr lang="zh-CN" altLang="en-US" dirty="0"/>
              <a:t>谢谢观看 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zh-CN" altLang="en-US" dirty="0"/>
              <a:t>邮箱：</a:t>
            </a:r>
            <a:r>
              <a:rPr lang="en-US" altLang="zh-CN" dirty="0"/>
              <a:t>737661225@qq.com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GitHub </a:t>
            </a:r>
            <a:r>
              <a:rPr lang="zh-CN" altLang="en-US" dirty="0"/>
              <a:t>链接：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背景与目标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系统功能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系统架构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演示流程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迭代规划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背景与目标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背景与目标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aphicFrame>
        <p:nvGraphicFramePr>
          <p:cNvPr id="6" name="图示 5">
            <a:extLst>
              <a:ext uri="{FF2B5EF4-FFF2-40B4-BE49-F238E27FC236}">
                <a16:creationId xmlns:a16="http://schemas.microsoft.com/office/drawing/2014/main" id="{3DC6258D-CB38-E3C8-2E99-8E48A5FDA8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1518697"/>
              </p:ext>
            </p:extLst>
          </p:nvPr>
        </p:nvGraphicFramePr>
        <p:xfrm>
          <a:off x="1445304" y="850222"/>
          <a:ext cx="9299801" cy="5157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38362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1A4A9C-2127-2E56-27B9-4EA55767A5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CF7787D7-94CA-E96C-2A00-DE7B65197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功能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7C8C215-3757-922A-8AB1-2E593C07F634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4315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C035FA0-384C-CD3B-16BE-E0907B793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065D5184-CB02-C0A1-E248-F22E15432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功能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F56B4C91-12EC-D0CF-28AE-C02FC83D383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zh-CN" altLang="en-US" dirty="0"/>
              <a:t>流程</a:t>
            </a:r>
          </a:p>
        </p:txBody>
      </p:sp>
      <p:graphicFrame>
        <p:nvGraphicFramePr>
          <p:cNvPr id="6" name="图示 5">
            <a:extLst>
              <a:ext uri="{FF2B5EF4-FFF2-40B4-BE49-F238E27FC236}">
                <a16:creationId xmlns:a16="http://schemas.microsoft.com/office/drawing/2014/main" id="{948E5515-6CBC-FECE-D0EB-5C3BE3B47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6964583"/>
              </p:ext>
            </p:extLst>
          </p:nvPr>
        </p:nvGraphicFramePr>
        <p:xfrm>
          <a:off x="2031205" y="-146957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1E071F4E-BFFA-8286-7E33-F065EA745284}"/>
              </a:ext>
            </a:extLst>
          </p:cNvPr>
          <p:cNvSpPr txBox="1"/>
          <p:nvPr/>
        </p:nvSpPr>
        <p:spPr>
          <a:xfrm>
            <a:off x="1683656" y="4471491"/>
            <a:ext cx="957942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/>
              <a:t>功能亮点：单文件上传、文本抽取、自动总结、一键复制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15264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67FD65-EFED-6291-10DC-6D7573DEA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1D3FB1C2-1ACF-DE6E-021B-F2BC794F5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架构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DF1839F-0AAC-2F9D-5EA8-E8D4672EFCF1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1321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1C8B07-A13C-C4F1-F50D-1756BADBA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3" y="0"/>
            <a:ext cx="10850563" cy="1028699"/>
          </a:xfrm>
        </p:spPr>
        <p:txBody>
          <a:bodyPr/>
          <a:lstStyle/>
          <a:p>
            <a:r>
              <a:rPr lang="zh-CN" altLang="en-US" dirty="0"/>
              <a:t>系统架构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87C1C3B-7882-34CB-7947-0D3839600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aphicFrame>
        <p:nvGraphicFramePr>
          <p:cNvPr id="7" name="图示 6">
            <a:extLst>
              <a:ext uri="{FF2B5EF4-FFF2-40B4-BE49-F238E27FC236}">
                <a16:creationId xmlns:a16="http://schemas.microsoft.com/office/drawing/2014/main" id="{9F7A20F7-C095-90F4-3B26-0163211864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9035078"/>
              </p:ext>
            </p:extLst>
          </p:nvPr>
        </p:nvGraphicFramePr>
        <p:xfrm>
          <a:off x="2031205" y="41115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86567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0F16D-C21C-3860-4665-BCA18F01A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>
            <a:extLst>
              <a:ext uri="{FF2B5EF4-FFF2-40B4-BE49-F238E27FC236}">
                <a16:creationId xmlns:a16="http://schemas.microsoft.com/office/drawing/2014/main" id="{9D3D3800-889A-142D-5962-05280355E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演示流程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EF1ED80-933D-B3B1-78FB-34ED37B54688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801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f1287e5c-14e8-4c8a-9123-43d1a2584c1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E81C3"/>
      </a:accent1>
      <a:accent2>
        <a:srgbClr val="14879E"/>
      </a:accent2>
      <a:accent3>
        <a:srgbClr val="3EA592"/>
      </a:accent3>
      <a:accent4>
        <a:srgbClr val="5066A2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E81C3"/>
    </a:accent1>
    <a:accent2>
      <a:srgbClr val="14879E"/>
    </a:accent2>
    <a:accent3>
      <a:srgbClr val="3EA592"/>
    </a:accent3>
    <a:accent4>
      <a:srgbClr val="5066A2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5</TotalTime>
  <Words>327</Words>
  <Application>Microsoft Office PowerPoint</Application>
  <PresentationFormat>宽屏</PresentationFormat>
  <Paragraphs>73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3" baseType="lpstr">
      <vt:lpstr>等线</vt:lpstr>
      <vt:lpstr>Arial</vt:lpstr>
      <vt:lpstr>Calibri</vt:lpstr>
      <vt:lpstr>Impact</vt:lpstr>
      <vt:lpstr>Roboto</vt:lpstr>
      <vt:lpstr>主题5</vt:lpstr>
      <vt:lpstr>think-cell Slide</vt:lpstr>
      <vt:lpstr>AI 学习助手v1.0  本地轻量级 PDF 总结工具 </vt:lpstr>
      <vt:lpstr>PowerPoint 演示文稿</vt:lpstr>
      <vt:lpstr>背景与目标</vt:lpstr>
      <vt:lpstr>背景与目标</vt:lpstr>
      <vt:lpstr>系统功能</vt:lpstr>
      <vt:lpstr>系统功能</vt:lpstr>
      <vt:lpstr>系统架构</vt:lpstr>
      <vt:lpstr>系统架构</vt:lpstr>
      <vt:lpstr>演示流程</vt:lpstr>
      <vt:lpstr>演示流程</vt:lpstr>
      <vt:lpstr>演示流程</vt:lpstr>
      <vt:lpstr>演示流程</vt:lpstr>
      <vt:lpstr>演示流程</vt:lpstr>
      <vt:lpstr>迭代规划</vt:lpstr>
      <vt:lpstr>迭代规划</vt:lpstr>
      <vt:lpstr>谢谢观看 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737661225@qq.com</cp:lastModifiedBy>
  <cp:revision>3</cp:revision>
  <cp:lastPrinted>2019-06-05T16:00:00Z</cp:lastPrinted>
  <dcterms:created xsi:type="dcterms:W3CDTF">2019-06-05T16:00:00Z</dcterms:created>
  <dcterms:modified xsi:type="dcterms:W3CDTF">2025-08-26T07:2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